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0" r:id="rId2"/>
  </p:sldMasterIdLst>
  <p:notesMasterIdLst>
    <p:notesMasterId r:id="rId28"/>
  </p:notesMasterIdLst>
  <p:sldIdLst>
    <p:sldId id="297" r:id="rId3"/>
    <p:sldId id="298" r:id="rId4"/>
    <p:sldId id="299" r:id="rId5"/>
    <p:sldId id="300" r:id="rId6"/>
    <p:sldId id="301" r:id="rId7"/>
    <p:sldId id="302" r:id="rId8"/>
    <p:sldId id="303" r:id="rId9"/>
    <p:sldId id="304" r:id="rId10"/>
    <p:sldId id="305" r:id="rId11"/>
    <p:sldId id="306" r:id="rId12"/>
    <p:sldId id="307" r:id="rId13"/>
    <p:sldId id="308" r:id="rId14"/>
    <p:sldId id="257" r:id="rId15"/>
    <p:sldId id="258" r:id="rId16"/>
    <p:sldId id="259" r:id="rId17"/>
    <p:sldId id="260" r:id="rId18"/>
    <p:sldId id="261" r:id="rId19"/>
    <p:sldId id="262" r:id="rId20"/>
    <p:sldId id="263" r:id="rId21"/>
    <p:sldId id="264" r:id="rId22"/>
    <p:sldId id="265" r:id="rId23"/>
    <p:sldId id="266" r:id="rId24"/>
    <p:sldId id="267" r:id="rId25"/>
    <p:sldId id="268" r:id="rId26"/>
    <p:sldId id="269" r:id="rId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22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ocuments Uploaded</c:v>
                </c:pt>
              </c:strCache>
            </c:strRef>
          </c:tx>
          <c:invertIfNegative val="0"/>
          <c:cat>
            <c:strRef>
              <c:f>Sheet1!$A$2:$A$15</c:f>
              <c:strCache>
                <c:ptCount val="14"/>
                <c:pt idx="0">
                  <c:v>February</c:v>
                </c:pt>
                <c:pt idx="1">
                  <c:v>March</c:v>
                </c:pt>
                <c:pt idx="2">
                  <c:v>April</c:v>
                </c:pt>
                <c:pt idx="3">
                  <c:v>May</c:v>
                </c:pt>
                <c:pt idx="4">
                  <c:v>June</c:v>
                </c:pt>
                <c:pt idx="5">
                  <c:v>July</c:v>
                </c:pt>
                <c:pt idx="6">
                  <c:v>August</c:v>
                </c:pt>
                <c:pt idx="7">
                  <c:v>September</c:v>
                </c:pt>
                <c:pt idx="8">
                  <c:v>October</c:v>
                </c:pt>
                <c:pt idx="9">
                  <c:v>November</c:v>
                </c:pt>
                <c:pt idx="10">
                  <c:v>December</c:v>
                </c:pt>
                <c:pt idx="11">
                  <c:v>January</c:v>
                </c:pt>
                <c:pt idx="12">
                  <c:v>February </c:v>
                </c:pt>
                <c:pt idx="13">
                  <c:v>March</c:v>
                </c:pt>
              </c:strCache>
            </c:strRef>
          </c:cat>
          <c:val>
            <c:numRef>
              <c:f>Sheet1!$B$2:$B$15</c:f>
              <c:numCache>
                <c:formatCode>_-* #,##0_-;\-* #,##0_-;_-* "-"??_-;_-@_-</c:formatCode>
                <c:ptCount val="14"/>
                <c:pt idx="0">
                  <c:v>16318</c:v>
                </c:pt>
                <c:pt idx="1">
                  <c:v>19438</c:v>
                </c:pt>
                <c:pt idx="2">
                  <c:v>20752</c:v>
                </c:pt>
                <c:pt idx="3">
                  <c:v>19733</c:v>
                </c:pt>
                <c:pt idx="4">
                  <c:v>21373</c:v>
                </c:pt>
                <c:pt idx="5">
                  <c:v>24066</c:v>
                </c:pt>
                <c:pt idx="6">
                  <c:v>26581</c:v>
                </c:pt>
                <c:pt idx="7">
                  <c:v>39230</c:v>
                </c:pt>
                <c:pt idx="8">
                  <c:v>53112</c:v>
                </c:pt>
                <c:pt idx="9">
                  <c:v>50418</c:v>
                </c:pt>
                <c:pt idx="10">
                  <c:v>28262</c:v>
                </c:pt>
                <c:pt idx="11">
                  <c:v>46724</c:v>
                </c:pt>
                <c:pt idx="12">
                  <c:v>58308</c:v>
                </c:pt>
                <c:pt idx="13">
                  <c:v>579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233664"/>
        <c:axId val="27235456"/>
      </c:barChart>
      <c:catAx>
        <c:axId val="27233664"/>
        <c:scaling>
          <c:orientation val="minMax"/>
        </c:scaling>
        <c:delete val="0"/>
        <c:axPos val="b"/>
        <c:majorTickMark val="out"/>
        <c:minorTickMark val="none"/>
        <c:tickLblPos val="nextTo"/>
        <c:crossAx val="27235456"/>
        <c:crosses val="autoZero"/>
        <c:auto val="1"/>
        <c:lblAlgn val="ctr"/>
        <c:lblOffset val="100"/>
        <c:noMultiLvlLbl val="0"/>
      </c:catAx>
      <c:valAx>
        <c:axId val="27235456"/>
        <c:scaling>
          <c:orientation val="minMax"/>
        </c:scaling>
        <c:delete val="0"/>
        <c:axPos val="l"/>
        <c:majorGridlines/>
        <c:numFmt formatCode="_-* #,##0_-;\-* #,##0_-;_-* &quot;-&quot;??_-;_-@_-" sourceLinked="1"/>
        <c:majorTickMark val="out"/>
        <c:minorTickMark val="none"/>
        <c:tickLblPos val="nextTo"/>
        <c:crossAx val="272336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image" Target="../media/image18.jpe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image" Target="../media/image1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633A48-29F0-477D-9AEF-3A96765E72E7}" type="doc">
      <dgm:prSet loTypeId="urn:microsoft.com/office/officeart/2005/8/layout/pList2#1" loCatId="list" qsTypeId="urn:microsoft.com/office/officeart/2005/8/quickstyle/simple1" qsCatId="simple" csTypeId="urn:microsoft.com/office/officeart/2005/8/colors/accent1_2" csCatId="accent1" phldr="1"/>
      <dgm:spPr/>
    </dgm:pt>
    <dgm:pt modelId="{8A697614-76B8-4B85-B465-E302F754C278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sz="2300" dirty="0" err="1" smtClean="0">
              <a:solidFill>
                <a:schemeClr val="bg1"/>
              </a:solidFill>
            </a:rPr>
            <a:t>FireFox</a:t>
          </a:r>
          <a:r>
            <a:rPr lang="en-US" sz="2300" dirty="0" smtClean="0">
              <a:solidFill>
                <a:schemeClr val="bg1"/>
              </a:solidFill>
            </a:rPr>
            <a:t> 20.0</a:t>
          </a:r>
          <a:endParaRPr lang="en-US" sz="1600" dirty="0" smtClean="0"/>
        </a:p>
        <a:p>
          <a:r>
            <a:rPr lang="en-US" sz="2000" dirty="0" smtClean="0"/>
            <a:t>Tested version is best</a:t>
          </a:r>
        </a:p>
      </dgm:t>
    </dgm:pt>
    <dgm:pt modelId="{5759884C-AC93-4F4F-B38D-C0CA5EF79502}" type="parTrans" cxnId="{FC48E394-7023-4C08-AC28-60B9EC944BF4}">
      <dgm:prSet/>
      <dgm:spPr/>
      <dgm:t>
        <a:bodyPr/>
        <a:lstStyle/>
        <a:p>
          <a:endParaRPr lang="en-GB"/>
        </a:p>
      </dgm:t>
    </dgm:pt>
    <dgm:pt modelId="{7D7B5625-1F70-4C68-BB9F-20603937291B}" type="sibTrans" cxnId="{FC48E394-7023-4C08-AC28-60B9EC944BF4}">
      <dgm:prSet/>
      <dgm:spPr/>
      <dgm:t>
        <a:bodyPr/>
        <a:lstStyle/>
        <a:p>
          <a:endParaRPr lang="en-GB"/>
        </a:p>
      </dgm:t>
    </dgm:pt>
    <dgm:pt modelId="{C81FB5CE-CE5A-45B5-B4AB-67544B05186B}">
      <dgm:prSet phldrT="[Text]"/>
      <dgm:spPr>
        <a:solidFill>
          <a:schemeClr val="accent6">
            <a:lumMod val="75000"/>
          </a:schemeClr>
        </a:solidFill>
      </dgm:spPr>
      <dgm:t>
        <a:bodyPr/>
        <a:lstStyle/>
        <a:p>
          <a:pPr algn="ctr"/>
          <a:r>
            <a:rPr lang="en-GB" dirty="0" err="1" smtClean="0"/>
            <a:t>IE9</a:t>
          </a:r>
          <a:endParaRPr lang="en-GB" b="1" dirty="0" smtClean="0"/>
        </a:p>
        <a:p>
          <a:pPr algn="ctr"/>
          <a:r>
            <a:rPr lang="en-GB" dirty="0" err="1" smtClean="0"/>
            <a:t>IE8</a:t>
          </a:r>
          <a:endParaRPr lang="en-GB" dirty="0" smtClean="0"/>
        </a:p>
        <a:p>
          <a:pPr algn="ctr"/>
          <a:r>
            <a:rPr lang="en-GB" u="sng" dirty="0" err="1" smtClean="0"/>
            <a:t>IE7</a:t>
          </a:r>
          <a:r>
            <a:rPr lang="en-GB" u="sng" dirty="0" smtClean="0"/>
            <a:t> – Not supported</a:t>
          </a:r>
          <a:endParaRPr lang="en-GB" u="sng" dirty="0"/>
        </a:p>
      </dgm:t>
    </dgm:pt>
    <dgm:pt modelId="{A99CCBC1-CEDD-4EDC-83F6-F49D16E57B10}" type="parTrans" cxnId="{CA4F5256-CB0C-4F36-8717-D864AD1A494C}">
      <dgm:prSet/>
      <dgm:spPr/>
      <dgm:t>
        <a:bodyPr/>
        <a:lstStyle/>
        <a:p>
          <a:endParaRPr lang="en-GB"/>
        </a:p>
      </dgm:t>
    </dgm:pt>
    <dgm:pt modelId="{16E1534B-B5DE-41CA-A0B3-0E2A3031F2B8}" type="sibTrans" cxnId="{CA4F5256-CB0C-4F36-8717-D864AD1A494C}">
      <dgm:prSet/>
      <dgm:spPr/>
      <dgm:t>
        <a:bodyPr/>
        <a:lstStyle/>
        <a:p>
          <a:endParaRPr lang="en-GB"/>
        </a:p>
      </dgm:t>
    </dgm:pt>
    <dgm:pt modelId="{15C7DE10-0A04-4744-90A8-B7777ADA8B8D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r>
            <a:rPr lang="en-US" sz="2300" dirty="0" smtClean="0">
              <a:solidFill>
                <a:schemeClr val="bg1"/>
              </a:solidFill>
            </a:rPr>
            <a:t>Chrome 26.0.1410.43 m</a:t>
          </a:r>
          <a:endParaRPr lang="en-US" sz="1600" dirty="0" smtClean="0"/>
        </a:p>
        <a:p>
          <a:r>
            <a:rPr lang="en-US" sz="2000" dirty="0" smtClean="0"/>
            <a:t>Tested version is best</a:t>
          </a:r>
        </a:p>
      </dgm:t>
    </dgm:pt>
    <dgm:pt modelId="{3F797C7D-9666-4A2A-BE05-0F3B85982DC0}" type="sibTrans" cxnId="{64BECA6E-B5A9-4A5B-B2C6-81ACDE4EE1C7}">
      <dgm:prSet/>
      <dgm:spPr/>
      <dgm:t>
        <a:bodyPr/>
        <a:lstStyle/>
        <a:p>
          <a:endParaRPr lang="en-GB"/>
        </a:p>
      </dgm:t>
    </dgm:pt>
    <dgm:pt modelId="{1A7092A5-6551-479D-BC34-26B06F3C156C}" type="parTrans" cxnId="{64BECA6E-B5A9-4A5B-B2C6-81ACDE4EE1C7}">
      <dgm:prSet/>
      <dgm:spPr/>
      <dgm:t>
        <a:bodyPr/>
        <a:lstStyle/>
        <a:p>
          <a:endParaRPr lang="en-GB"/>
        </a:p>
      </dgm:t>
    </dgm:pt>
    <dgm:pt modelId="{222E1BD2-9572-4FD8-B34C-82D0C1A4EEFE}" type="pres">
      <dgm:prSet presAssocID="{8A633A48-29F0-477D-9AEF-3A96765E72E7}" presName="Name0" presStyleCnt="0">
        <dgm:presLayoutVars>
          <dgm:dir/>
          <dgm:resizeHandles val="exact"/>
        </dgm:presLayoutVars>
      </dgm:prSet>
      <dgm:spPr/>
    </dgm:pt>
    <dgm:pt modelId="{529AFC23-A88C-4851-B4A7-4ED273623831}" type="pres">
      <dgm:prSet presAssocID="{8A633A48-29F0-477D-9AEF-3A96765E72E7}" presName="bkgdShp" presStyleLbl="alignAccFollowNode1" presStyleIdx="0" presStyleCnt="1"/>
      <dgm:spPr/>
    </dgm:pt>
    <dgm:pt modelId="{FDA1C39E-FB81-4E59-BA93-919A4F1CAFCB}" type="pres">
      <dgm:prSet presAssocID="{8A633A48-29F0-477D-9AEF-3A96765E72E7}" presName="linComp" presStyleCnt="0"/>
      <dgm:spPr/>
    </dgm:pt>
    <dgm:pt modelId="{6B8C7FD6-D210-4082-B3E2-64B7B8BCDD6A}" type="pres">
      <dgm:prSet presAssocID="{15C7DE10-0A04-4744-90A8-B7777ADA8B8D}" presName="compNode" presStyleCnt="0"/>
      <dgm:spPr/>
    </dgm:pt>
    <dgm:pt modelId="{03B61A96-5DD0-4B4C-ABD2-36B36B98F9C9}" type="pres">
      <dgm:prSet presAssocID="{15C7DE10-0A04-4744-90A8-B7777ADA8B8D}" presName="node" presStyleLbl="node1" presStyleIdx="0" presStyleCnt="3" custScaleX="11115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099448E-E2F6-4BBE-88BC-2B7A6DE7F421}" type="pres">
      <dgm:prSet presAssocID="{15C7DE10-0A04-4744-90A8-B7777ADA8B8D}" presName="invisiNode" presStyleLbl="node1" presStyleIdx="0" presStyleCnt="3"/>
      <dgm:spPr/>
    </dgm:pt>
    <dgm:pt modelId="{BE8C923C-2241-47B0-B968-5EE76196AD6B}" type="pres">
      <dgm:prSet presAssocID="{15C7DE10-0A04-4744-90A8-B7777ADA8B8D}" presName="imagNode" presStyleLbl="fgImgPlace1" presStyleIdx="0" presStyleCnt="3"/>
      <dgm:spPr>
        <a:solidFill>
          <a:schemeClr val="bg1"/>
        </a:solidFill>
      </dgm:spPr>
    </dgm:pt>
    <dgm:pt modelId="{5EDB7D70-A931-4D38-B2A1-D1CC52D11439}" type="pres">
      <dgm:prSet presAssocID="{3F797C7D-9666-4A2A-BE05-0F3B85982DC0}" presName="sibTrans" presStyleLbl="sibTrans2D1" presStyleIdx="0" presStyleCnt="0"/>
      <dgm:spPr/>
      <dgm:t>
        <a:bodyPr/>
        <a:lstStyle/>
        <a:p>
          <a:endParaRPr lang="en-US"/>
        </a:p>
      </dgm:t>
    </dgm:pt>
    <dgm:pt modelId="{C446DB7E-FC14-4F7E-9D55-2405E628F242}" type="pres">
      <dgm:prSet presAssocID="{8A697614-76B8-4B85-B465-E302F754C278}" presName="compNode" presStyleCnt="0"/>
      <dgm:spPr/>
    </dgm:pt>
    <dgm:pt modelId="{0A910699-2647-4364-A68A-8F8B04C85DFB}" type="pres">
      <dgm:prSet presAssocID="{8A697614-76B8-4B85-B465-E302F754C278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F5952AB-3488-4509-A162-4D7B3CF017BE}" type="pres">
      <dgm:prSet presAssocID="{8A697614-76B8-4B85-B465-E302F754C278}" presName="invisiNode" presStyleLbl="node1" presStyleIdx="1" presStyleCnt="3"/>
      <dgm:spPr/>
    </dgm:pt>
    <dgm:pt modelId="{95023095-EC7E-49BF-8908-86DC1AF7B5B1}" type="pres">
      <dgm:prSet presAssocID="{8A697614-76B8-4B85-B465-E302F754C278}" presName="imagNode" presStyleLbl="fgImgPlace1" presStyleIdx="1" presStyleCnt="3" custScaleX="8687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88405434-6084-4545-82AD-F9CB2F0FB22A}" type="pres">
      <dgm:prSet presAssocID="{7D7B5625-1F70-4C68-BB9F-20603937291B}" presName="sibTrans" presStyleLbl="sibTrans2D1" presStyleIdx="0" presStyleCnt="0"/>
      <dgm:spPr/>
      <dgm:t>
        <a:bodyPr/>
        <a:lstStyle/>
        <a:p>
          <a:endParaRPr lang="en-US"/>
        </a:p>
      </dgm:t>
    </dgm:pt>
    <dgm:pt modelId="{791222EE-E387-448F-9258-B3E7F3183F02}" type="pres">
      <dgm:prSet presAssocID="{C81FB5CE-CE5A-45B5-B4AB-67544B05186B}" presName="compNode" presStyleCnt="0"/>
      <dgm:spPr/>
    </dgm:pt>
    <dgm:pt modelId="{BB093C56-5B6F-4F46-B7F7-FE40C397CD2D}" type="pres">
      <dgm:prSet presAssocID="{C81FB5CE-CE5A-45B5-B4AB-67544B05186B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FC52236-1F9F-49AA-83FE-FED616D80995}" type="pres">
      <dgm:prSet presAssocID="{C81FB5CE-CE5A-45B5-B4AB-67544B05186B}" presName="invisiNode" presStyleLbl="node1" presStyleIdx="2" presStyleCnt="3"/>
      <dgm:spPr/>
    </dgm:pt>
    <dgm:pt modelId="{D72BE7A4-BDE6-45C0-9D66-AA0D86CF39CD}" type="pres">
      <dgm:prSet presAssocID="{C81FB5CE-CE5A-45B5-B4AB-67544B05186B}" presName="imagNode" presStyleLbl="fgImgPlace1" presStyleIdx="2" presStyleCnt="3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</dgm:ptLst>
  <dgm:cxnLst>
    <dgm:cxn modelId="{A8DDC65B-3192-466E-8AE4-069E03523ECB}" type="presOf" srcId="{7D7B5625-1F70-4C68-BB9F-20603937291B}" destId="{88405434-6084-4545-82AD-F9CB2F0FB22A}" srcOrd="0" destOrd="0" presId="urn:microsoft.com/office/officeart/2005/8/layout/pList2#1"/>
    <dgm:cxn modelId="{64BECA6E-B5A9-4A5B-B2C6-81ACDE4EE1C7}" srcId="{8A633A48-29F0-477D-9AEF-3A96765E72E7}" destId="{15C7DE10-0A04-4744-90A8-B7777ADA8B8D}" srcOrd="0" destOrd="0" parTransId="{1A7092A5-6551-479D-BC34-26B06F3C156C}" sibTransId="{3F797C7D-9666-4A2A-BE05-0F3B85982DC0}"/>
    <dgm:cxn modelId="{5D664BF6-D6FA-412A-BCF0-7C3E74457F95}" type="presOf" srcId="{C81FB5CE-CE5A-45B5-B4AB-67544B05186B}" destId="{BB093C56-5B6F-4F46-B7F7-FE40C397CD2D}" srcOrd="0" destOrd="0" presId="urn:microsoft.com/office/officeart/2005/8/layout/pList2#1"/>
    <dgm:cxn modelId="{6B74C4F4-D427-49C9-9344-CEE2B91F8205}" type="presOf" srcId="{3F797C7D-9666-4A2A-BE05-0F3B85982DC0}" destId="{5EDB7D70-A931-4D38-B2A1-D1CC52D11439}" srcOrd="0" destOrd="0" presId="urn:microsoft.com/office/officeart/2005/8/layout/pList2#1"/>
    <dgm:cxn modelId="{FC48E394-7023-4C08-AC28-60B9EC944BF4}" srcId="{8A633A48-29F0-477D-9AEF-3A96765E72E7}" destId="{8A697614-76B8-4B85-B465-E302F754C278}" srcOrd="1" destOrd="0" parTransId="{5759884C-AC93-4F4F-B38D-C0CA5EF79502}" sibTransId="{7D7B5625-1F70-4C68-BB9F-20603937291B}"/>
    <dgm:cxn modelId="{01B422A5-651F-4780-8C31-800850566399}" type="presOf" srcId="{8A633A48-29F0-477D-9AEF-3A96765E72E7}" destId="{222E1BD2-9572-4FD8-B34C-82D0C1A4EEFE}" srcOrd="0" destOrd="0" presId="urn:microsoft.com/office/officeart/2005/8/layout/pList2#1"/>
    <dgm:cxn modelId="{2152C517-D301-46C2-9B7A-D2952D644ECB}" type="presOf" srcId="{15C7DE10-0A04-4744-90A8-B7777ADA8B8D}" destId="{03B61A96-5DD0-4B4C-ABD2-36B36B98F9C9}" srcOrd="0" destOrd="0" presId="urn:microsoft.com/office/officeart/2005/8/layout/pList2#1"/>
    <dgm:cxn modelId="{D4EFA39E-4FE1-4A2D-A0E1-6D8A0AA457B0}" type="presOf" srcId="{8A697614-76B8-4B85-B465-E302F754C278}" destId="{0A910699-2647-4364-A68A-8F8B04C85DFB}" srcOrd="0" destOrd="0" presId="urn:microsoft.com/office/officeart/2005/8/layout/pList2#1"/>
    <dgm:cxn modelId="{CA4F5256-CB0C-4F36-8717-D864AD1A494C}" srcId="{8A633A48-29F0-477D-9AEF-3A96765E72E7}" destId="{C81FB5CE-CE5A-45B5-B4AB-67544B05186B}" srcOrd="2" destOrd="0" parTransId="{A99CCBC1-CEDD-4EDC-83F6-F49D16E57B10}" sibTransId="{16E1534B-B5DE-41CA-A0B3-0E2A3031F2B8}"/>
    <dgm:cxn modelId="{4D231034-1D6A-4928-A877-3801328AE6C3}" type="presParOf" srcId="{222E1BD2-9572-4FD8-B34C-82D0C1A4EEFE}" destId="{529AFC23-A88C-4851-B4A7-4ED273623831}" srcOrd="0" destOrd="0" presId="urn:microsoft.com/office/officeart/2005/8/layout/pList2#1"/>
    <dgm:cxn modelId="{5C2FCE66-F945-4BA2-8011-4B11879903C3}" type="presParOf" srcId="{222E1BD2-9572-4FD8-B34C-82D0C1A4EEFE}" destId="{FDA1C39E-FB81-4E59-BA93-919A4F1CAFCB}" srcOrd="1" destOrd="0" presId="urn:microsoft.com/office/officeart/2005/8/layout/pList2#1"/>
    <dgm:cxn modelId="{314BDFC6-9317-47F0-B098-0CBFDF4349B8}" type="presParOf" srcId="{FDA1C39E-FB81-4E59-BA93-919A4F1CAFCB}" destId="{6B8C7FD6-D210-4082-B3E2-64B7B8BCDD6A}" srcOrd="0" destOrd="0" presId="urn:microsoft.com/office/officeart/2005/8/layout/pList2#1"/>
    <dgm:cxn modelId="{F074022F-7BCF-4DAC-B7C4-5FA568DBCC50}" type="presParOf" srcId="{6B8C7FD6-D210-4082-B3E2-64B7B8BCDD6A}" destId="{03B61A96-5DD0-4B4C-ABD2-36B36B98F9C9}" srcOrd="0" destOrd="0" presId="urn:microsoft.com/office/officeart/2005/8/layout/pList2#1"/>
    <dgm:cxn modelId="{65489DD5-DD89-40C0-AC01-2C198CBF5090}" type="presParOf" srcId="{6B8C7FD6-D210-4082-B3E2-64B7B8BCDD6A}" destId="{C099448E-E2F6-4BBE-88BC-2B7A6DE7F421}" srcOrd="1" destOrd="0" presId="urn:microsoft.com/office/officeart/2005/8/layout/pList2#1"/>
    <dgm:cxn modelId="{17DC92B9-6D7A-4AD4-98BD-F041AB579DA2}" type="presParOf" srcId="{6B8C7FD6-D210-4082-B3E2-64B7B8BCDD6A}" destId="{BE8C923C-2241-47B0-B968-5EE76196AD6B}" srcOrd="2" destOrd="0" presId="urn:microsoft.com/office/officeart/2005/8/layout/pList2#1"/>
    <dgm:cxn modelId="{F4011677-A80E-4DA8-A46E-77C34BF65B06}" type="presParOf" srcId="{FDA1C39E-FB81-4E59-BA93-919A4F1CAFCB}" destId="{5EDB7D70-A931-4D38-B2A1-D1CC52D11439}" srcOrd="1" destOrd="0" presId="urn:microsoft.com/office/officeart/2005/8/layout/pList2#1"/>
    <dgm:cxn modelId="{0545F837-AD5E-49C6-9E77-BC436EE28141}" type="presParOf" srcId="{FDA1C39E-FB81-4E59-BA93-919A4F1CAFCB}" destId="{C446DB7E-FC14-4F7E-9D55-2405E628F242}" srcOrd="2" destOrd="0" presId="urn:microsoft.com/office/officeart/2005/8/layout/pList2#1"/>
    <dgm:cxn modelId="{546A2A22-B44C-4F00-B8AF-92671DDF8DC4}" type="presParOf" srcId="{C446DB7E-FC14-4F7E-9D55-2405E628F242}" destId="{0A910699-2647-4364-A68A-8F8B04C85DFB}" srcOrd="0" destOrd="0" presId="urn:microsoft.com/office/officeart/2005/8/layout/pList2#1"/>
    <dgm:cxn modelId="{2371495A-2B9C-4536-9E49-E9D8A57A7AD7}" type="presParOf" srcId="{C446DB7E-FC14-4F7E-9D55-2405E628F242}" destId="{3F5952AB-3488-4509-A162-4D7B3CF017BE}" srcOrd="1" destOrd="0" presId="urn:microsoft.com/office/officeart/2005/8/layout/pList2#1"/>
    <dgm:cxn modelId="{01804FE9-536E-40B1-9388-BE44C2B7D972}" type="presParOf" srcId="{C446DB7E-FC14-4F7E-9D55-2405E628F242}" destId="{95023095-EC7E-49BF-8908-86DC1AF7B5B1}" srcOrd="2" destOrd="0" presId="urn:microsoft.com/office/officeart/2005/8/layout/pList2#1"/>
    <dgm:cxn modelId="{597E7C9C-73E7-465D-AEC6-84D656A918F5}" type="presParOf" srcId="{FDA1C39E-FB81-4E59-BA93-919A4F1CAFCB}" destId="{88405434-6084-4545-82AD-F9CB2F0FB22A}" srcOrd="3" destOrd="0" presId="urn:microsoft.com/office/officeart/2005/8/layout/pList2#1"/>
    <dgm:cxn modelId="{3E8AA245-169B-4EE0-A0B7-4FD3B11B3B93}" type="presParOf" srcId="{FDA1C39E-FB81-4E59-BA93-919A4F1CAFCB}" destId="{791222EE-E387-448F-9258-B3E7F3183F02}" srcOrd="4" destOrd="0" presId="urn:microsoft.com/office/officeart/2005/8/layout/pList2#1"/>
    <dgm:cxn modelId="{34389E96-2DB6-4725-BCB0-330BF4288B6B}" type="presParOf" srcId="{791222EE-E387-448F-9258-B3E7F3183F02}" destId="{BB093C56-5B6F-4F46-B7F7-FE40C397CD2D}" srcOrd="0" destOrd="0" presId="urn:microsoft.com/office/officeart/2005/8/layout/pList2#1"/>
    <dgm:cxn modelId="{0CC58C4C-EE52-466B-89BB-CAD3BA3137F9}" type="presParOf" srcId="{791222EE-E387-448F-9258-B3E7F3183F02}" destId="{7FC52236-1F9F-49AA-83FE-FED616D80995}" srcOrd="1" destOrd="0" presId="urn:microsoft.com/office/officeart/2005/8/layout/pList2#1"/>
    <dgm:cxn modelId="{30EBE856-70D2-4DFE-B725-61D64351C280}" type="presParOf" srcId="{791222EE-E387-448F-9258-B3E7F3183F02}" destId="{D72BE7A4-BDE6-45C0-9D66-AA0D86CF39CD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9AFC23-A88C-4851-B4A7-4ED273623831}">
      <dsp:nvSpPr>
        <dsp:cNvPr id="0" name=""/>
        <dsp:cNvSpPr/>
      </dsp:nvSpPr>
      <dsp:spPr>
        <a:xfrm>
          <a:off x="0" y="0"/>
          <a:ext cx="6096000" cy="1666754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8C923C-2241-47B0-B968-5EE76196AD6B}">
      <dsp:nvSpPr>
        <dsp:cNvPr id="0" name=""/>
        <dsp:cNvSpPr/>
      </dsp:nvSpPr>
      <dsp:spPr>
        <a:xfrm>
          <a:off x="281368" y="222233"/>
          <a:ext cx="1729144" cy="1222286"/>
        </a:xfrm>
        <a:prstGeom prst="roundRect">
          <a:avLst>
            <a:gd name="adj" fmla="val 10000"/>
          </a:avLst>
        </a:prstGeom>
        <a:solidFill>
          <a:schemeClr val="bg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B61A96-5DD0-4B4C-ABD2-36B36B98F9C9}">
      <dsp:nvSpPr>
        <dsp:cNvPr id="0" name=""/>
        <dsp:cNvSpPr/>
      </dsp:nvSpPr>
      <dsp:spPr>
        <a:xfrm rot="10800000">
          <a:off x="184934" y="1666754"/>
          <a:ext cx="1922013" cy="20371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t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>
              <a:solidFill>
                <a:schemeClr val="bg1"/>
              </a:solidFill>
            </a:rPr>
            <a:t>Chrome 26.0.1410.43 m</a:t>
          </a:r>
          <a:endParaRPr lang="en-US" sz="1600" kern="1200" dirty="0" smtClean="0"/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ested version is best</a:t>
          </a:r>
        </a:p>
      </dsp:txBody>
      <dsp:txXfrm rot="10800000">
        <a:off x="244043" y="1666754"/>
        <a:ext cx="1803795" cy="1978035"/>
      </dsp:txXfrm>
    </dsp:sp>
    <dsp:sp modelId="{95023095-EC7E-49BF-8908-86DC1AF7B5B1}">
      <dsp:nvSpPr>
        <dsp:cNvPr id="0" name=""/>
        <dsp:cNvSpPr/>
      </dsp:nvSpPr>
      <dsp:spPr>
        <a:xfrm>
          <a:off x="2393345" y="222233"/>
          <a:ext cx="1502177" cy="122228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910699-2647-4364-A68A-8F8B04C85DFB}">
      <dsp:nvSpPr>
        <dsp:cNvPr id="0" name=""/>
        <dsp:cNvSpPr/>
      </dsp:nvSpPr>
      <dsp:spPr>
        <a:xfrm rot="10800000">
          <a:off x="2279862" y="1666754"/>
          <a:ext cx="1729144" cy="20371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3576" tIns="163576" rIns="163576" bIns="163576" numCol="1" spcCol="1270" anchor="t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err="1" smtClean="0">
              <a:solidFill>
                <a:schemeClr val="bg1"/>
              </a:solidFill>
            </a:rPr>
            <a:t>FireFox</a:t>
          </a:r>
          <a:r>
            <a:rPr lang="en-US" sz="2300" kern="1200" dirty="0" smtClean="0">
              <a:solidFill>
                <a:schemeClr val="bg1"/>
              </a:solidFill>
            </a:rPr>
            <a:t> 20.0</a:t>
          </a:r>
          <a:endParaRPr lang="en-US" sz="1600" kern="1200" dirty="0" smtClean="0"/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Tested version is best</a:t>
          </a:r>
        </a:p>
      </dsp:txBody>
      <dsp:txXfrm rot="10800000">
        <a:off x="2333039" y="1666754"/>
        <a:ext cx="1622790" cy="1983967"/>
      </dsp:txXfrm>
    </dsp:sp>
    <dsp:sp modelId="{D72BE7A4-BDE6-45C0-9D66-AA0D86CF39CD}">
      <dsp:nvSpPr>
        <dsp:cNvPr id="0" name=""/>
        <dsp:cNvSpPr/>
      </dsp:nvSpPr>
      <dsp:spPr>
        <a:xfrm>
          <a:off x="4181921" y="222233"/>
          <a:ext cx="1729144" cy="1222286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B093C56-5B6F-4F46-B7F7-FE40C397CD2D}">
      <dsp:nvSpPr>
        <dsp:cNvPr id="0" name=""/>
        <dsp:cNvSpPr/>
      </dsp:nvSpPr>
      <dsp:spPr>
        <a:xfrm rot="10800000">
          <a:off x="4181921" y="1666754"/>
          <a:ext cx="1729144" cy="20371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t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err="1" smtClean="0"/>
            <a:t>IE9</a:t>
          </a:r>
          <a:endParaRPr lang="en-GB" sz="2200" b="1" kern="1200" dirty="0" smtClean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kern="1200" dirty="0" err="1" smtClean="0"/>
            <a:t>IE8</a:t>
          </a:r>
          <a:endParaRPr lang="en-GB" sz="2200" kern="1200" dirty="0" smtClean="0"/>
        </a:p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200" u="sng" kern="1200" dirty="0" err="1" smtClean="0"/>
            <a:t>IE7</a:t>
          </a:r>
          <a:r>
            <a:rPr lang="en-GB" sz="2200" u="sng" kern="1200" dirty="0" smtClean="0"/>
            <a:t> – Not supported</a:t>
          </a:r>
          <a:endParaRPr lang="en-GB" sz="2200" u="sng" kern="1200" dirty="0"/>
        </a:p>
      </dsp:txBody>
      <dsp:txXfrm rot="10800000">
        <a:off x="4235098" y="1666754"/>
        <a:ext cx="1622790" cy="19839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2551F1-EB6D-403D-BC13-F0C190698A7D}" type="datetimeFigureOut">
              <a:rPr lang="en-US" smtClean="0"/>
              <a:t>4/22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112994-3A4A-4870-A326-77F627A45F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253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1" indent="0" algn="l" defTabSz="4572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903 institutions in 17 countries have used the servic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6F431B-F464-43DC-A40E-88EB1044FD0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04F5A1C-0048-46D8-B6EB-793C4D3F5890}" type="slidenum">
              <a:rPr lang="de-DE">
                <a:solidFill>
                  <a:prstClr val="black"/>
                </a:solidFill>
              </a:rPr>
              <a:pPr/>
              <a:t>4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 want</a:t>
            </a:r>
            <a:r>
              <a:rPr lang="en-US" baseline="0" dirty="0" smtClean="0"/>
              <a:t> to stop here and make sure it’s clear: what you’ve just seen is the staff view of the future Discovery service, that will eventually replace all the current interfaces for FirstSearch, </a:t>
            </a:r>
            <a:r>
              <a:rPr lang="en-US" baseline="0" dirty="0" err="1" smtClean="0"/>
              <a:t>WorldCat.org</a:t>
            </a:r>
            <a:r>
              <a:rPr lang="en-US" baseline="0" smtClean="0"/>
              <a:t> and </a:t>
            </a:r>
            <a:r>
              <a:rPr lang="en-US" baseline="0" dirty="0" err="1" smtClean="0"/>
              <a:t>WorldCat</a:t>
            </a:r>
            <a:r>
              <a:rPr lang="en-US" baseline="0" dirty="0" smtClean="0"/>
              <a:t> Local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3D0D9-79C2-E74A-AFC2-A31843F06810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Addressing</a:t>
            </a:r>
            <a:r>
              <a:rPr lang="en-US" baseline="0" dirty="0" smtClean="0"/>
              <a:t> the issue of access on Desktop, Tablet and mobile devi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D266D4-DECA-4446-88CC-7DEE1948BDC3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8DB0CC-1F40-4154-9E65-51B0A08067C2}" type="slidenum">
              <a:rPr lang="en-GB" smtClean="0">
                <a:solidFill>
                  <a:prstClr val="black"/>
                </a:solidFill>
              </a:rPr>
              <a:pPr/>
              <a:t>20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703D0D9-79C2-E74A-AFC2-A31843F06810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685800" y="1523999"/>
            <a:ext cx="7772400" cy="2732725"/>
          </a:xfrm>
        </p:spPr>
        <p:txBody>
          <a:bodyPr wrap="square" tIns="0" bIns="0" anchor="t">
            <a:norm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85800" y="990216"/>
            <a:ext cx="7772400" cy="533784"/>
          </a:xfrm>
        </p:spPr>
        <p:txBody>
          <a:bodyPr anchor="t">
            <a:norm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245651"/>
            <a:ext cx="8153400" cy="491741"/>
          </a:xfrm>
        </p:spPr>
        <p:txBody>
          <a:bodyPr>
            <a:normAutofit/>
          </a:bodyPr>
          <a:lstStyle>
            <a:lvl1pPr marL="0" indent="0" algn="r">
              <a:spcBef>
                <a:spcPts val="1200"/>
              </a:spcBef>
              <a:buNone/>
              <a:defRPr sz="14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Venue or location, date</a:t>
            </a:r>
            <a:b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</a:b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witter </a:t>
            </a:r>
            <a:r>
              <a:rPr lang="en-US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hashtag</a:t>
            </a:r>
            <a:endParaRPr lang="en-US" dirty="0" smtClean="0">
              <a:solidFill>
                <a:schemeClr val="tx1">
                  <a:lumMod val="65000"/>
                  <a:lumOff val="35000"/>
                </a:schemeClr>
              </a:solidFill>
              <a:latin typeface="Arial"/>
              <a:cs typeface="Arial"/>
            </a:endParaRPr>
          </a:p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256725"/>
            <a:ext cx="3693697" cy="457200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resenter name</a:t>
            </a:r>
            <a:endParaRPr lang="en-US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4713925"/>
            <a:ext cx="3693697" cy="1305875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Title</a:t>
            </a:r>
            <a:b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</a:b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Organization</a:t>
            </a:r>
          </a:p>
          <a:p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Presenter’s Twitter</a:t>
            </a:r>
            <a:r>
              <a:rPr lang="en-US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cs typeface="Arial"/>
              </a:rPr>
              <a:t> ID or other info</a:t>
            </a:r>
          </a:p>
        </p:txBody>
      </p:sp>
      <p:pic>
        <p:nvPicPr>
          <p:cNvPr id="19" name="Picture 18" descr="oclclogo-rings-transparent.png"/>
          <p:cNvPicPr>
            <a:picLocks noChangeAspect="1"/>
          </p:cNvPicPr>
          <p:nvPr/>
        </p:nvPicPr>
        <p:blipFill>
          <a:blip r:embed="rId2" cstate="print">
            <a:alphaModFix amt="30000"/>
          </a:blip>
          <a:srcRect b="8763"/>
          <a:stretch>
            <a:fillRect/>
          </a:stretch>
        </p:blipFill>
        <p:spPr>
          <a:xfrm>
            <a:off x="5325434" y="2853375"/>
            <a:ext cx="3513766" cy="339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0686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9" name="Rounded Rectangle 8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Isosceles Triangle 10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6119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1B5C0-35A8-444B-AC6B-10F5E00CBF4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2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B0A2A0-0921-E541-B2DE-2C3F2C21533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3776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609600"/>
            <a:ext cx="8839200" cy="5410200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6600">
                <a:gradFill flip="none" rotWithShape="1">
                  <a:gsLst>
                    <a:gs pos="0">
                      <a:schemeClr val="accent1">
                        <a:lumMod val="75000"/>
                      </a:schemeClr>
                    </a:gs>
                    <a:gs pos="100000">
                      <a:schemeClr val="accent1"/>
                    </a:gs>
                  </a:gsLst>
                  <a:lin ang="16200000" scaled="0"/>
                  <a:tileRect/>
                </a:gradFill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4240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Big Tex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609600"/>
            <a:ext cx="8839200" cy="5410200"/>
          </a:xfrm>
        </p:spPr>
        <p:txBody>
          <a:bodyPr vert="horz" lIns="457200" tIns="457200" rIns="457200" bIns="45720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lang="en-US" sz="6600" b="0" i="0" kern="1200" dirty="0" smtClean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53012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228600"/>
            <a:ext cx="8839200" cy="5791200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8000">
                <a:solidFill>
                  <a:srgbClr val="FFFFFF"/>
                </a:solidFill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61532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Chart-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104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ig Head and Conten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214015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ig Head and Open Layou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795706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228600"/>
            <a:ext cx="8839200" cy="5791200"/>
          </a:xfrm>
        </p:spPr>
        <p:txBody>
          <a:bodyPr lIns="457200" tIns="457200" rIns="457200" bIns="4572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sz="8000">
                <a:gradFill flip="none" rotWithShape="1">
                  <a:gsLst>
                    <a:gs pos="0">
                      <a:schemeClr val="accent1">
                        <a:lumMod val="75000"/>
                      </a:schemeClr>
                    </a:gs>
                    <a:gs pos="100000">
                      <a:schemeClr val="accent1"/>
                    </a:gs>
                  </a:gsLst>
                  <a:lin ang="16200000" scaled="0"/>
                  <a:tileRect/>
                </a:gradFill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62720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505200" y="990600"/>
            <a:ext cx="5181600" cy="51530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000">
                <a:solidFill>
                  <a:schemeClr val="bg1"/>
                </a:solidFill>
              </a:defRPr>
            </a:lvl2pPr>
            <a:lvl3pPr marL="914400" indent="-228600">
              <a:defRPr sz="18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990600"/>
            <a:ext cx="2667000" cy="51530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05468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57400"/>
            <a:ext cx="7772400" cy="3352800"/>
          </a:xfrm>
        </p:spPr>
        <p:txBody>
          <a:bodyPr anchor="t">
            <a:normAutofit/>
          </a:bodyPr>
          <a:lstStyle>
            <a:lvl1pPr algn="l">
              <a:defRPr sz="6600" b="0" cap="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5572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BC21B-894E-AB42-B567-820E81E1B58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8857F2-102E-5148-ADF3-C396FE20EB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4088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50000"/>
                </a:schemeClr>
              </a:gs>
              <a:gs pos="100000">
                <a:schemeClr val="tx2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224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50000"/>
                </a:schemeClr>
              </a:gs>
              <a:gs pos="100000">
                <a:schemeClr val="accent6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3381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50000"/>
                </a:schemeClr>
              </a:gs>
              <a:gs pos="100000">
                <a:schemeClr val="accent3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745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</a:schemeClr>
              </a:gs>
              <a:gs pos="100000">
                <a:schemeClr val="accent6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57400"/>
            <a:ext cx="7772400" cy="3352800"/>
          </a:xfrm>
        </p:spPr>
        <p:txBody>
          <a:bodyPr anchor="t">
            <a:normAutofit/>
          </a:bodyPr>
          <a:lstStyle>
            <a:lvl1pPr algn="l">
              <a:defRPr sz="6600" b="0" cap="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5572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90461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ig tex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</a:schemeClr>
              </a:gs>
              <a:gs pos="100000">
                <a:schemeClr val="accent6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5" name="Rounded Rectangle 14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609600"/>
            <a:ext cx="8839200" cy="5410200"/>
          </a:xfrm>
        </p:spPr>
        <p:txBody>
          <a:bodyPr vert="horz" lIns="457200" tIns="457200" rIns="457200" bIns="45720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lang="en-US" sz="8000" b="0" i="0" kern="1200" dirty="0" smtClean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69468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9" name="Rounded Rectangle 8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Isosceles Triangle 9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0121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Kick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15" name="Rounded Rectangle 14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62000"/>
          </a:xfrm>
        </p:spPr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2400"/>
            <a:ext cx="8229599" cy="304800"/>
          </a:xfrm>
        </p:spPr>
        <p:txBody>
          <a:bodyPr tIns="0" bIns="0" anchor="t">
            <a:noAutofit/>
          </a:bodyPr>
          <a:lstStyle>
            <a:lvl1pPr>
              <a:buNone/>
              <a:defRPr sz="1800">
                <a:solidFill>
                  <a:schemeClr val="accent6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dit ki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464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1" name="Rounded Rectangle 10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Isosceles Triangle 11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59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mall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9" name="Rounded Rectangle 8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100000">
                  <a:schemeClr val="accent6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Isosceles Triangle 10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34794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57400"/>
            <a:ext cx="7772400" cy="3352800"/>
          </a:xfrm>
        </p:spPr>
        <p:txBody>
          <a:bodyPr anchor="t">
            <a:normAutofit/>
          </a:bodyPr>
          <a:lstStyle>
            <a:lvl1pPr algn="l">
              <a:defRPr sz="6600" b="0" cap="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5572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832567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Large 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9" name="Rounded Rectangle 8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Isosceles Triangle 9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8593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ig tex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</a:schemeClr>
              </a:gs>
              <a:gs pos="100000">
                <a:schemeClr val="accent3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2" name="Rounded Rectangle 11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Isosceles Triangle 13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400" y="609600"/>
            <a:ext cx="8839200" cy="5410200"/>
          </a:xfrm>
        </p:spPr>
        <p:txBody>
          <a:bodyPr vert="horz" lIns="457200" tIns="457200" rIns="457200" bIns="457200" rtlCol="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1200"/>
              </a:spcBef>
              <a:buNone/>
              <a:defRPr lang="en-US" sz="8000" b="0" i="0" kern="1200" dirty="0" smtClean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algn="ctr">
              <a:buNone/>
              <a:defRPr sz="8800">
                <a:solidFill>
                  <a:schemeClr val="bg1"/>
                </a:solidFill>
              </a:defRPr>
            </a:lvl2pPr>
            <a:lvl3pPr algn="ctr">
              <a:buNone/>
              <a:defRPr sz="8800">
                <a:solidFill>
                  <a:schemeClr val="bg1"/>
                </a:solidFill>
              </a:defRPr>
            </a:lvl3pPr>
            <a:lvl4pPr algn="ctr">
              <a:buNone/>
              <a:defRPr sz="8800">
                <a:solidFill>
                  <a:schemeClr val="bg1"/>
                </a:solidFill>
              </a:defRPr>
            </a:lvl4pPr>
            <a:lvl5pPr algn="ctr">
              <a:buNone/>
              <a:defRPr sz="8800">
                <a:solidFill>
                  <a:schemeClr val="bg1"/>
                </a:solidFill>
              </a:defRPr>
            </a:lvl5pPr>
          </a:lstStyle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ts val="1200"/>
              </a:spcBef>
              <a:buClrTx/>
              <a:buFont typeface="Arial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620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9" name="Rounded Rectangle 8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Isosceles Triangle 9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38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Kick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15" name="Rounded Rectangle 14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62000"/>
          </a:xfrm>
        </p:spPr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2400"/>
            <a:ext cx="8229599" cy="304800"/>
          </a:xfrm>
        </p:spPr>
        <p:txBody>
          <a:bodyPr tIns="0" bIns="0" anchor="t">
            <a:noAutofit/>
          </a:bodyPr>
          <a:lstStyle>
            <a:lvl1pPr>
              <a:buNone/>
              <a:defRPr sz="1800">
                <a:solidFill>
                  <a:schemeClr val="accent3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dit ki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8954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1" name="Rounded Rectangle 10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Isosceles Triangle 11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202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mall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1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9" name="Rounded Rectangle 8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100000">
                  <a:schemeClr val="accent3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Isosceles Triangle 10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770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</a:schemeClr>
              </a:gs>
              <a:gs pos="100000">
                <a:schemeClr val="accent4"/>
              </a:gs>
            </a:gsLst>
            <a:lin ang="162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057400"/>
            <a:ext cx="7772400" cy="3352800"/>
          </a:xfrm>
        </p:spPr>
        <p:txBody>
          <a:bodyPr anchor="t">
            <a:normAutofit/>
          </a:bodyPr>
          <a:lstStyle>
            <a:lvl1pPr algn="l">
              <a:defRPr sz="6600" b="0" cap="none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5572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82316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9" name="Rounded Rectangle 8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4">
                    <a:lumMod val="75000"/>
                  </a:schemeClr>
                </a:gs>
                <a:gs pos="100000">
                  <a:schemeClr val="accent4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Isosceles Triangle 9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257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, Kick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15" name="Rounded Rectangle 14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4">
                    <a:lumMod val="75000"/>
                  </a:schemeClr>
                </a:gs>
                <a:gs pos="100000">
                  <a:schemeClr val="accent4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62000"/>
          </a:xfrm>
        </p:spPr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2400"/>
            <a:ext cx="8229599" cy="304800"/>
          </a:xfrm>
        </p:spPr>
        <p:txBody>
          <a:bodyPr tIns="0" bIns="0" anchor="t">
            <a:noAutofit/>
          </a:bodyPr>
          <a:lstStyle>
            <a:lvl1pPr>
              <a:buNone/>
              <a:defRPr sz="1800">
                <a:solidFill>
                  <a:schemeClr val="accent4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Edit ki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5184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DEE1FD-6C3A-4B25-AFE7-BD0E99D9D9E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DCF226-964B-4CE3-8411-6EE43AD5177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84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Head, Kick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13" name="Rounded Rectangle 12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Isosceles Triangle 13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62000"/>
          </a:xfrm>
        </p:spPr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57199" y="152400"/>
            <a:ext cx="8229599" cy="304800"/>
          </a:xfrm>
        </p:spPr>
        <p:txBody>
          <a:bodyPr tIns="0" bIns="0" anchor="t">
            <a:noAutofit/>
          </a:bodyPr>
          <a:lstStyle>
            <a:lvl1pPr>
              <a:buNone/>
              <a:defRPr sz="1800">
                <a:solidFill>
                  <a:srgbClr val="CDE5F6"/>
                </a:solidFill>
              </a:defRPr>
            </a:lvl1pPr>
          </a:lstStyle>
          <a:p>
            <a:pPr lvl="0"/>
            <a:r>
              <a:rPr lang="en-US" dirty="0" smtClean="0"/>
              <a:t>Edit kick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468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Head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6" name="Rounded Rectangle 5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" name="Isosceles Triangle 6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4375" y="2000250"/>
            <a:ext cx="3714751" cy="4143375"/>
          </a:xfrm>
        </p:spPr>
        <p:txBody>
          <a:bodyPr/>
          <a:lstStyle>
            <a:lvl1pPr>
              <a:defRPr sz="21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4875" y="2000250"/>
            <a:ext cx="3714750" cy="4143375"/>
          </a:xfrm>
        </p:spPr>
        <p:txBody>
          <a:bodyPr/>
          <a:lstStyle>
            <a:lvl1pPr>
              <a:defRPr sz="21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14400"/>
          </a:xfrm>
        </p:spPr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58052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Head, Person Photo and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grpSp>
        <p:nvGrpSpPr>
          <p:cNvPr id="3" name="Group 7"/>
          <p:cNvGrpSpPr/>
          <p:nvPr/>
        </p:nvGrpSpPr>
        <p:grpSpPr>
          <a:xfrm>
            <a:off x="0" y="0"/>
            <a:ext cx="9144000" cy="1759220"/>
            <a:chOff x="228600" y="228600"/>
            <a:chExt cx="9144000" cy="1759220"/>
          </a:xfrm>
          <a:solidFill>
            <a:srgbClr val="195A88"/>
          </a:solidFill>
        </p:grpSpPr>
        <p:sp>
          <p:nvSpPr>
            <p:cNvPr id="9" name="Rounded Rectangle 8"/>
            <p:cNvSpPr/>
            <p:nvPr userDrawn="1"/>
          </p:nvSpPr>
          <p:spPr>
            <a:xfrm>
              <a:off x="228600" y="228600"/>
              <a:ext cx="9144000" cy="15240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0" name="Isosceles Triangle 9"/>
            <p:cNvSpPr/>
            <p:nvPr userDrawn="1"/>
          </p:nvSpPr>
          <p:spPr>
            <a:xfrm rot="10800000">
              <a:off x="942302" y="1731952"/>
              <a:ext cx="505498" cy="255868"/>
            </a:xfrm>
            <a:prstGeom prst="triangl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14400" y="2133600"/>
            <a:ext cx="2209800" cy="2743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133600"/>
            <a:ext cx="5181600" cy="838200"/>
          </a:xfrm>
        </p:spPr>
        <p:txBody>
          <a:bodyPr>
            <a:normAutofit/>
          </a:bodyPr>
          <a:lstStyle>
            <a:lvl1pPr>
              <a:buNone/>
              <a:defRPr sz="4000"/>
            </a:lvl1pPr>
          </a:lstStyle>
          <a:p>
            <a:pPr lv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429000" y="2971800"/>
            <a:ext cx="5181600" cy="838200"/>
          </a:xfrm>
        </p:spPr>
        <p:txBody>
          <a:bodyPr>
            <a:normAutofit/>
          </a:bodyPr>
          <a:lstStyle>
            <a:lvl1pPr>
              <a:buNone/>
              <a:defRPr sz="2400"/>
            </a:lvl1pPr>
          </a:lstStyle>
          <a:p>
            <a:pPr lvl="0"/>
            <a:r>
              <a:rPr lang="en-US" dirty="0" smtClean="0"/>
              <a:t>Pos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14062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,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505200" y="990600"/>
            <a:ext cx="5181600" cy="5153025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 marL="914400" indent="-228600"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990600"/>
            <a:ext cx="2667000" cy="515302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10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Three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5" name="Rounded Rectangle 14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6" name="Isosceles Triangle 15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6"/>
          </p:nvPr>
        </p:nvSpPr>
        <p:spPr>
          <a:xfrm>
            <a:off x="914400" y="4876800"/>
            <a:ext cx="7315200" cy="1219200"/>
          </a:xfr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914400" y="1219200"/>
            <a:ext cx="2209800" cy="2743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467100" y="1219200"/>
            <a:ext cx="2209800" cy="2743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vert="horz" lIns="91440" tIns="45720" rIns="91440" bIns="45720" rtlCol="0">
            <a:normAutofit/>
          </a:bodyPr>
          <a:lstStyle>
            <a:lvl1pPr marL="233363" indent="-233363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Arial"/>
              <a:buNone/>
              <a:defRPr lang="en-US" sz="24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19800" y="1219200"/>
            <a:ext cx="2209800" cy="2743200"/>
          </a:xfr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vert="horz" lIns="91440" tIns="45720" rIns="91440" bIns="45720" rtlCol="0">
            <a:normAutofit/>
          </a:bodyPr>
          <a:lstStyle>
            <a:lvl1pPr marL="233363" indent="-233363" algn="l" defTabSz="457200" rtl="0" eaLnBrk="1" latinLnBrk="0" hangingPunct="1">
              <a:lnSpc>
                <a:spcPct val="110000"/>
              </a:lnSpc>
              <a:spcBef>
                <a:spcPts val="900"/>
              </a:spcBef>
              <a:buClrTx/>
              <a:buFont typeface="Arial"/>
              <a:buNone/>
              <a:defRPr lang="en-US" sz="24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914400" y="4076660"/>
            <a:ext cx="2209800" cy="266740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ctr">
              <a:spcBef>
                <a:spcPts val="200"/>
              </a:spcBef>
              <a:buNone/>
              <a:defRPr lang="en-US" sz="1600" b="0" i="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ctr" defTabSz="4572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/>
              <a:buNone/>
            </a:pPr>
            <a:r>
              <a:rPr lang="en-US" dirty="0" smtClean="0"/>
              <a:t>Nam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475028" y="4076660"/>
            <a:ext cx="2209800" cy="266740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ctr">
              <a:spcBef>
                <a:spcPts val="400"/>
              </a:spcBef>
              <a:buNone/>
              <a:defRPr lang="en-US" sz="1600" b="0" i="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ctr" defTabSz="4572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/>
              <a:buNone/>
            </a:pPr>
            <a:r>
              <a:rPr lang="en-US" dirty="0" smtClean="0"/>
              <a:t>Nam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26522" y="4076660"/>
            <a:ext cx="2209800" cy="266740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 algn="ctr">
              <a:spcBef>
                <a:spcPts val="400"/>
              </a:spcBef>
              <a:buNone/>
              <a:defRPr lang="en-US" sz="1600" b="0" i="0" kern="1200" dirty="0" smtClean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</a:lstStyle>
          <a:p>
            <a:pPr marL="0" lvl="0" indent="0" algn="ctr" defTabSz="4572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/>
              <a:buNone/>
            </a:pPr>
            <a:r>
              <a:rPr lang="en-US" dirty="0" smtClean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754666191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Head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4"/>
          <p:cNvGrpSpPr/>
          <p:nvPr/>
        </p:nvGrpSpPr>
        <p:grpSpPr>
          <a:xfrm>
            <a:off x="0" y="0"/>
            <a:ext cx="9144000" cy="855144"/>
            <a:chOff x="0" y="0"/>
            <a:chExt cx="9144000" cy="855144"/>
          </a:xfrm>
        </p:grpSpPr>
        <p:sp>
          <p:nvSpPr>
            <p:cNvPr id="16" name="Rounded Rectangle 15"/>
            <p:cNvSpPr/>
            <p:nvPr userDrawn="1"/>
          </p:nvSpPr>
          <p:spPr>
            <a:xfrm>
              <a:off x="0" y="0"/>
              <a:ext cx="9144000" cy="609600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0">
                  <a:schemeClr val="accent1">
                    <a:lumMod val="75000"/>
                  </a:schemeClr>
                </a:gs>
                <a:gs pos="100000">
                  <a:schemeClr val="accent1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Isosceles Triangle 16"/>
            <p:cNvSpPr/>
            <p:nvPr userDrawn="1"/>
          </p:nvSpPr>
          <p:spPr>
            <a:xfrm rot="10800000">
              <a:off x="713702" y="599276"/>
              <a:ext cx="505498" cy="255868"/>
            </a:xfrm>
            <a:prstGeom prst="triangle">
              <a:avLst/>
            </a:prstGeom>
            <a:solidFill>
              <a:srgbClr val="195A8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FE2C35E-EA8D-4765-BC71-BA8A5D61C9DB}" type="datetime1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3D87E7-651D-4A96-A2ED-045968F76FEA}" type="slidenum">
              <a:rPr lang="en-US" smtClean="0">
                <a:solidFill>
                  <a:prstClr val="black">
                    <a:tint val="75000"/>
                  </a:prstClr>
                </a:solidFill>
                <a:ea typeface="ＭＳ Ｐゴシック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0"/>
            <a:ext cx="8534400" cy="609600"/>
          </a:xfrm>
        </p:spPr>
        <p:txBody>
          <a:bodyPr wrap="none" lIns="0" rIns="0">
            <a:noAutofit/>
          </a:bodyPr>
          <a:lstStyle>
            <a:lvl1pPr algn="l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152400" y="609600"/>
            <a:ext cx="8839200" cy="548640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75309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CLC_H_CMYK.eps"/>
          <p:cNvPicPr>
            <a:picLocks noChangeAspect="1"/>
          </p:cNvPicPr>
          <p:nvPr/>
        </p:nvPicPr>
        <p:blipFill>
          <a:blip r:embed="rId40" cstate="print"/>
          <a:stretch>
            <a:fillRect/>
          </a:stretch>
        </p:blipFill>
        <p:spPr>
          <a:xfrm>
            <a:off x="239866" y="6400800"/>
            <a:ext cx="903134" cy="2943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144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54404" y="6400800"/>
            <a:ext cx="1269211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fld id="{B641B5C0-35A8-444B-AC6B-10F5E00CBF4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4/22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00800"/>
            <a:ext cx="2466093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81" y="6400800"/>
            <a:ext cx="571418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fld id="{36B0A2A0-0921-E541-B2DE-2C3F2C21533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66715" y="6431783"/>
            <a:ext cx="2570903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457200"/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Tahoma"/>
                <a:cs typeface="Tahoma"/>
              </a:rPr>
              <a:t>The world’s libraries. Connected.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248400"/>
            <a:ext cx="9144000" cy="1588"/>
          </a:xfrm>
          <a:prstGeom prst="line">
            <a:avLst/>
          </a:prstGeom>
          <a:ln w="31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0644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+mj-lt"/>
          <a:ea typeface="+mj-ea"/>
          <a:cs typeface="Georgia"/>
        </a:defRPr>
      </a:lvl1pPr>
    </p:titleStyle>
    <p:bodyStyle>
      <a:lvl1pPr marL="233363" indent="-233363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24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90563" indent="-233363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CLC_H_CMYK.eps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39866" y="6400800"/>
            <a:ext cx="903134" cy="29432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1440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654404" y="6400800"/>
            <a:ext cx="1269211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fld id="{793BC21B-894E-AB42-B567-820E81E1B58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4/22/201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00800"/>
            <a:ext cx="2466093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15381" y="6400800"/>
            <a:ext cx="571418" cy="2943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>
                <a:solidFill>
                  <a:schemeClr val="tx1">
                    <a:tint val="75000"/>
                  </a:schemeClr>
                </a:solidFill>
                <a:latin typeface="Myriad Web Pro"/>
                <a:cs typeface="Myriad Web Pro"/>
              </a:defRPr>
            </a:lvl1pPr>
          </a:lstStyle>
          <a:p>
            <a:pPr defTabSz="457200"/>
            <a:fld id="{818857F2-102E-5148-ADF3-C396FE20EB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66715" y="6431783"/>
            <a:ext cx="2570903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457200"/>
            <a:r>
              <a:rPr lang="en-US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Tahoma"/>
                <a:cs typeface="Tahoma"/>
              </a:rPr>
              <a:t>The world’s libraries. Connected.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248400"/>
            <a:ext cx="9144000" cy="1588"/>
          </a:xfrm>
          <a:prstGeom prst="line">
            <a:avLst/>
          </a:prstGeom>
          <a:ln w="3175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1437408"/>
      </p:ext>
    </p:extLst>
  </p:cSld>
  <p:clrMap bg1="lt1" tx1="dk1" bg2="lt2" tx2="dk2" accent1="accent1" accent2="accent2" accent3="accent3" accent4="accent4" accent5="accent5" accent6="accent6" hlink="hlink" folHlink="folHlink"/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+mj-lt"/>
          <a:ea typeface="+mj-ea"/>
          <a:cs typeface="Georgia"/>
        </a:defRPr>
      </a:lvl1pPr>
    </p:titleStyle>
    <p:bodyStyle>
      <a:lvl1pPr marL="233363" indent="-233363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2400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858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Lucida Grande"/>
        <a:buChar char="–"/>
        <a:defRPr sz="2000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597025" indent="-225425" algn="l" defTabSz="457200" rtl="0" eaLnBrk="1" latinLnBrk="0" hangingPunct="1">
        <a:lnSpc>
          <a:spcPct val="110000"/>
        </a:lnSpc>
        <a:spcBef>
          <a:spcPts val="900"/>
        </a:spcBef>
        <a:buClrTx/>
        <a:buFont typeface="Lucida Grande"/>
        <a:buChar char="–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lnSpc>
          <a:spcPct val="110000"/>
        </a:lnSpc>
        <a:spcBef>
          <a:spcPts val="900"/>
        </a:spcBef>
        <a:buClrTx/>
        <a:buFont typeface="Arial"/>
        <a:buChar char="•"/>
        <a:defRPr sz="18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mailto:wayc@oclc.org" TargetMode="External"/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clc.org/en-US/worldshare-ill.html" TargetMode="Externa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oc.lc/3Bhn3x" TargetMode="External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1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://www.youtube.com/user/ScannxBookScanCenter" TargetMode="Externa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ticle Exchang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7375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Who has been invited?</a:t>
            </a:r>
          </a:p>
          <a:p>
            <a:pPr lvl="1"/>
            <a:r>
              <a:rPr lang="en-US" dirty="0" smtClean="0"/>
              <a:t>Unlimited and port limited subscribers</a:t>
            </a:r>
          </a:p>
          <a:p>
            <a:r>
              <a:rPr lang="en-US" dirty="0" smtClean="0"/>
              <a:t>When?</a:t>
            </a:r>
          </a:p>
          <a:p>
            <a:pPr lvl="1"/>
            <a:r>
              <a:rPr lang="en-US" dirty="0" smtClean="0"/>
              <a:t>28 February 2013 - </a:t>
            </a:r>
            <a:r>
              <a:rPr lang="en-GB" u="sng" dirty="0" smtClean="0">
                <a:hlinkClick r:id="rId2"/>
              </a:rPr>
              <a:t>wayc@oclc.org</a:t>
            </a:r>
            <a:r>
              <a:rPr lang="en-GB" u="sng" dirty="0" smtClean="0"/>
              <a:t> </a:t>
            </a:r>
            <a:endParaRPr lang="en-US" dirty="0" smtClean="0"/>
          </a:p>
          <a:p>
            <a:r>
              <a:rPr lang="en-US" dirty="0" smtClean="0"/>
              <a:t>Goal of the beta</a:t>
            </a:r>
          </a:p>
          <a:p>
            <a:pPr lvl="1"/>
            <a:r>
              <a:rPr lang="en-US" dirty="0" smtClean="0"/>
              <a:t>Assure librarians have input into the interface and it meets their needs to remain part of their workflow and aim to make their workflow more efficient</a:t>
            </a:r>
          </a:p>
          <a:p>
            <a:pPr lvl="1"/>
            <a:r>
              <a:rPr lang="en-US" dirty="0" smtClean="0"/>
              <a:t>Insure patrons also have input and the interface and it meets the need to provide an interface for patron initiated ILL and discovery of items outside the library system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Beta</a:t>
            </a:r>
            <a:endParaRPr lang="en-US" dirty="0"/>
          </a:p>
        </p:txBody>
      </p:sp>
      <p:pic>
        <p:nvPicPr>
          <p:cNvPr id="4" name="Picture 3" descr="beta-tester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33446" y="0"/>
            <a:ext cx="2532754" cy="2532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0043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hat is the goal of the migration?</a:t>
            </a:r>
          </a:p>
          <a:p>
            <a:pPr lvl="1"/>
            <a:r>
              <a:rPr lang="en-US" dirty="0" smtClean="0"/>
              <a:t>Provide an updated interface that adds new efficiencies and capabilities to your workflow</a:t>
            </a:r>
          </a:p>
          <a:p>
            <a:pPr lvl="1"/>
            <a:r>
              <a:rPr lang="en-US" dirty="0" smtClean="0"/>
              <a:t>Introduce a single interface design</a:t>
            </a:r>
            <a:br>
              <a:rPr lang="en-US" dirty="0" smtClean="0"/>
            </a:br>
            <a:r>
              <a:rPr lang="en-US" dirty="0" smtClean="0"/>
              <a:t>between </a:t>
            </a:r>
            <a:r>
              <a:rPr lang="en-US" dirty="0" err="1" smtClean="0"/>
              <a:t>FirstSearch</a:t>
            </a:r>
            <a:r>
              <a:rPr lang="en-US" dirty="0" smtClean="0"/>
              <a:t>, </a:t>
            </a:r>
            <a:r>
              <a:rPr lang="en-US" dirty="0" err="1" smtClean="0"/>
              <a:t>worldcat.org</a:t>
            </a:r>
            <a:r>
              <a:rPr lang="en-US" dirty="0" smtClean="0"/>
              <a:t>,</a:t>
            </a:r>
            <a:br>
              <a:rPr lang="en-US" dirty="0" smtClean="0"/>
            </a:br>
            <a:r>
              <a:rPr lang="en-US" dirty="0" smtClean="0"/>
              <a:t>and WorldCat Local</a:t>
            </a:r>
          </a:p>
          <a:p>
            <a:r>
              <a:rPr lang="en-US" dirty="0" smtClean="0"/>
              <a:t>When will the migration begin?</a:t>
            </a:r>
          </a:p>
          <a:p>
            <a:pPr lvl="1"/>
            <a:r>
              <a:rPr lang="en-US" dirty="0" smtClean="0"/>
              <a:t>July 1 is the target date  </a:t>
            </a:r>
          </a:p>
          <a:p>
            <a:pPr lvl="1"/>
            <a:endParaRPr lang="en-US" dirty="0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gration</a:t>
            </a:r>
            <a:endParaRPr lang="en-US" dirty="0"/>
          </a:p>
        </p:txBody>
      </p:sp>
      <p:pic>
        <p:nvPicPr>
          <p:cNvPr id="4" name="Picture 3" descr="migration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640710" y="3429000"/>
            <a:ext cx="3422650" cy="2698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4574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GB" dirty="0" smtClean="0"/>
              <a:t>Boulder Public Library</a:t>
            </a:r>
          </a:p>
          <a:p>
            <a:r>
              <a:rPr lang="en-GB" dirty="0" smtClean="0"/>
              <a:t>Pikes Peak Community College</a:t>
            </a:r>
          </a:p>
          <a:p>
            <a:r>
              <a:rPr lang="en-GB" dirty="0" smtClean="0"/>
              <a:t>Colorado State University</a:t>
            </a:r>
          </a:p>
          <a:p>
            <a:r>
              <a:rPr lang="en-GB" dirty="0" smtClean="0"/>
              <a:t>Colorado Mental Health Institute at Pueblo</a:t>
            </a:r>
          </a:p>
          <a:p>
            <a:r>
              <a:rPr lang="en-GB" dirty="0" smtClean="0"/>
              <a:t>University of Northern Colorado</a:t>
            </a:r>
          </a:p>
          <a:p>
            <a:r>
              <a:rPr lang="en-GB" dirty="0" smtClean="0"/>
              <a:t>Pueblo City County Library District</a:t>
            </a:r>
          </a:p>
          <a:p>
            <a:r>
              <a:rPr lang="en-GB" dirty="0" smtClean="0"/>
              <a:t>AORN</a:t>
            </a:r>
          </a:p>
          <a:p>
            <a:r>
              <a:rPr lang="en-GB" dirty="0" smtClean="0"/>
              <a:t>Saint John </a:t>
            </a:r>
            <a:r>
              <a:rPr lang="en-GB" dirty="0" err="1" smtClean="0"/>
              <a:t>Vianney</a:t>
            </a:r>
            <a:r>
              <a:rPr lang="en-GB" dirty="0" smtClean="0"/>
              <a:t> Theological Seminary</a:t>
            </a:r>
          </a:p>
          <a:p>
            <a:r>
              <a:rPr lang="en-GB" dirty="0" smtClean="0"/>
              <a:t>Lafayette Public Library</a:t>
            </a:r>
          </a:p>
          <a:p>
            <a:r>
              <a:rPr lang="en-GB" dirty="0" smtClean="0"/>
              <a:t>Westminster Public Library</a:t>
            </a:r>
          </a:p>
          <a:p>
            <a:r>
              <a:rPr lang="en-GB" dirty="0" smtClean="0"/>
              <a:t>Bureau of Reclamation</a:t>
            </a:r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3600" dirty="0" smtClean="0"/>
              <a:t>CO Libraries participating in the beta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3454658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orldShare</a:t>
            </a:r>
            <a:r>
              <a:rPr lang="en-GB" dirty="0" smtClean="0"/>
              <a:t> IL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7116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algn="ctr">
              <a:buNone/>
            </a:pPr>
            <a:endParaRPr lang="en-GB" sz="2800" dirty="0" smtClean="0"/>
          </a:p>
          <a:p>
            <a:pPr algn="ctr">
              <a:buNone/>
            </a:pPr>
            <a:r>
              <a:rPr lang="en-GB" sz="4000" dirty="0" err="1" smtClean="0"/>
              <a:t>WorldShare</a:t>
            </a:r>
            <a:r>
              <a:rPr lang="en-GB" sz="4000" dirty="0" smtClean="0"/>
              <a:t> ILL was launched on 12 March 2013.</a:t>
            </a:r>
          </a:p>
          <a:p>
            <a:pPr algn="ctr">
              <a:buNone/>
            </a:pPr>
            <a:r>
              <a:rPr lang="en-GB" sz="4000" dirty="0" smtClean="0"/>
              <a:t>More than 1,000 registrations to date.</a:t>
            </a:r>
          </a:p>
          <a:p>
            <a:pPr algn="ctr">
              <a:buNone/>
            </a:pPr>
            <a:r>
              <a:rPr lang="en-GB" dirty="0" smtClean="0">
                <a:hlinkClick r:id="rId2"/>
              </a:rPr>
              <a:t>http://www.oclc.org/en-US/worldshare-ill.html</a:t>
            </a:r>
            <a:r>
              <a:rPr lang="en-GB" dirty="0" smtClean="0"/>
              <a:t> </a:t>
            </a:r>
          </a:p>
          <a:p>
            <a:endParaRPr lang="en-GB" sz="4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orldShare</a:t>
            </a:r>
            <a:r>
              <a:rPr lang="en-GB" dirty="0" smtClean="0"/>
              <a:t> IL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7527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WorldShare</a:t>
            </a:r>
            <a:r>
              <a:rPr lang="en-GB" dirty="0" smtClean="0"/>
              <a:t> ILL 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type="body" sz="quarter" idx="4294967295"/>
          </p:nvPr>
        </p:nvSpPr>
        <p:spPr>
          <a:xfrm>
            <a:off x="0" y="2971800"/>
            <a:ext cx="8839200" cy="2519363"/>
          </a:xfrm>
        </p:spPr>
        <p:txBody>
          <a:bodyPr>
            <a:noAutofit/>
          </a:bodyPr>
          <a:lstStyle/>
          <a:p>
            <a:pPr algn="ctr">
              <a:buNone/>
            </a:pPr>
            <a:r>
              <a:rPr lang="en-GB" sz="3200" dirty="0" err="1" smtClean="0"/>
              <a:t>WorldShare</a:t>
            </a:r>
            <a:r>
              <a:rPr lang="en-GB" sz="3200" dirty="0" smtClean="0"/>
              <a:t> ILL replaces WorldCat Resource Sharing.</a:t>
            </a:r>
          </a:p>
          <a:p>
            <a:pPr algn="ctr">
              <a:buNone/>
            </a:pPr>
            <a:r>
              <a:rPr lang="en-GB" sz="3200" dirty="0" smtClean="0"/>
              <a:t>(aka OCLC ILL, ILL on </a:t>
            </a:r>
            <a:r>
              <a:rPr lang="en-GB" sz="3200" dirty="0" err="1" smtClean="0"/>
              <a:t>FirstSearch</a:t>
            </a:r>
            <a:r>
              <a:rPr lang="en-GB" sz="3200" dirty="0" smtClean="0"/>
              <a:t>..)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t="7207" b="48737"/>
          <a:stretch>
            <a:fillRect/>
          </a:stretch>
        </p:blipFill>
        <p:spPr bwMode="auto">
          <a:xfrm>
            <a:off x="938463" y="998621"/>
            <a:ext cx="7315200" cy="181281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 b="29908"/>
          <a:stretch>
            <a:fillRect/>
          </a:stretch>
        </p:blipFill>
        <p:spPr bwMode="auto">
          <a:xfrm>
            <a:off x="395536" y="1988840"/>
            <a:ext cx="8483473" cy="334477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379346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4800" dirty="0" smtClean="0"/>
              <a:t>ILL functionality in the </a:t>
            </a:r>
            <a:r>
              <a:rPr lang="en-GB" sz="4800" dirty="0" err="1" smtClean="0"/>
              <a:t>FirstSearch</a:t>
            </a:r>
            <a:r>
              <a:rPr lang="en-GB" sz="4800" dirty="0" smtClean="0"/>
              <a:t> admin module will move to the OCLC Service Configuration tool</a:t>
            </a:r>
          </a:p>
          <a:p>
            <a:r>
              <a:rPr lang="en-GB" sz="3600" dirty="0" smtClean="0">
                <a:solidFill>
                  <a:srgbClr val="C00000"/>
                </a:solidFill>
              </a:rPr>
              <a:t>http://www.worldcat.org/config/</a:t>
            </a:r>
            <a:endParaRPr lang="en-GB" sz="3600" dirty="0">
              <a:solidFill>
                <a:srgbClr val="C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 cstate="print"/>
          <a:srcRect l="936" t="10643" r="47740" b="33061"/>
          <a:stretch>
            <a:fillRect/>
          </a:stretch>
        </p:blipFill>
        <p:spPr bwMode="auto">
          <a:xfrm>
            <a:off x="152400" y="553453"/>
            <a:ext cx="8722185" cy="546634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 cstate="print"/>
          <a:srcRect l="2329" t="7062" r="49726" b="54389"/>
          <a:stretch>
            <a:fillRect/>
          </a:stretch>
        </p:blipFill>
        <p:spPr bwMode="auto">
          <a:xfrm>
            <a:off x="223380" y="1515979"/>
            <a:ext cx="8768220" cy="3965532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8236358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Browser versions – Supported baseline  following 12th May install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91027615"/>
              </p:ext>
            </p:extLst>
          </p:nvPr>
        </p:nvGraphicFramePr>
        <p:xfrm>
          <a:off x="1385103" y="1354238"/>
          <a:ext cx="6096000" cy="3703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 descr="new-chrome-icon1-300x300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815133" y="1632430"/>
            <a:ext cx="1251584" cy="125158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08683" y="5370653"/>
            <a:ext cx="6694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prstClr val="black"/>
                </a:solidFill>
              </a:rPr>
              <a:t>If you are not sure what browser or version you are using, go to 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srgbClr val="FF0000"/>
                </a:solidFill>
              </a:rPr>
              <a:t>http://www.thismachine.info/</a:t>
            </a:r>
          </a:p>
        </p:txBody>
      </p:sp>
    </p:spTree>
    <p:extLst>
      <p:ext uri="{BB962C8B-B14F-4D97-AF65-F5344CB8AC3E}">
        <p14:creationId xmlns:p14="http://schemas.microsoft.com/office/powerpoint/2010/main" val="42393708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uthenticatio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97296" y="609600"/>
            <a:ext cx="8839200" cy="5410200"/>
          </a:xfrm>
        </p:spPr>
        <p:txBody>
          <a:bodyPr>
            <a:normAutofit/>
          </a:bodyPr>
          <a:lstStyle/>
          <a:p>
            <a:pPr algn="ctr">
              <a:buNone/>
            </a:pPr>
            <a:endParaRPr lang="en-GB" sz="3200" dirty="0" smtClean="0"/>
          </a:p>
          <a:p>
            <a:pPr algn="ctr">
              <a:buNone/>
            </a:pPr>
            <a:r>
              <a:rPr lang="en-GB" sz="3200" dirty="0" smtClean="0"/>
              <a:t>Your FirstSearch 9 digit </a:t>
            </a:r>
            <a:r>
              <a:rPr lang="en-GB" sz="3200" dirty="0" err="1" smtClean="0"/>
              <a:t>autho</a:t>
            </a:r>
            <a:r>
              <a:rPr lang="en-GB" sz="3200" dirty="0" smtClean="0"/>
              <a:t> will not work with the new service.</a:t>
            </a:r>
          </a:p>
          <a:p>
            <a:pPr algn="ctr">
              <a:buNone/>
            </a:pPr>
            <a:endParaRPr lang="en-GB" sz="3200" dirty="0" smtClean="0"/>
          </a:p>
          <a:p>
            <a:pPr algn="ctr">
              <a:buNone/>
            </a:pPr>
            <a:r>
              <a:rPr lang="en-GB" sz="3200" dirty="0" smtClean="0"/>
              <a:t>You will have to go through a new, web-based process to create a username and password. </a:t>
            </a:r>
          </a:p>
          <a:p>
            <a:pPr algn="ctr">
              <a:buNone/>
            </a:pPr>
            <a:endParaRPr lang="en-GB" sz="3200" dirty="0" smtClean="0"/>
          </a:p>
          <a:p>
            <a:pPr algn="ctr">
              <a:buNone/>
            </a:pPr>
            <a:r>
              <a:rPr lang="en-GB" sz="3200" dirty="0" smtClean="0"/>
              <a:t>Each institution will have its own individual URL. </a:t>
            </a:r>
            <a:endParaRPr lang="en-GB" sz="3200" dirty="0"/>
          </a:p>
        </p:txBody>
      </p:sp>
    </p:spTree>
    <p:extLst>
      <p:ext uri="{BB962C8B-B14F-4D97-AF65-F5344CB8AC3E}">
        <p14:creationId xmlns:p14="http://schemas.microsoft.com/office/powerpoint/2010/main" val="10061212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ld login </a:t>
            </a:r>
            <a:endParaRPr lang="en-US" dirty="0"/>
          </a:p>
        </p:txBody>
      </p:sp>
      <p:pic>
        <p:nvPicPr>
          <p:cNvPr id="1027" name="Picture 1" descr="image00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576" y="2060848"/>
            <a:ext cx="7746475" cy="3960440"/>
          </a:xfrm>
          <a:prstGeom prst="rect">
            <a:avLst/>
          </a:prstGeom>
          <a:noFill/>
          <a:ln w="3810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918692"/>
            <a:ext cx="5600700" cy="323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12685485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Who is still using Ariel?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97836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login </a:t>
            </a:r>
            <a:endParaRPr lang="en-US" dirty="0"/>
          </a:p>
        </p:txBody>
      </p:sp>
      <p:pic>
        <p:nvPicPr>
          <p:cNvPr id="2050" name="Picture 1" descr="image00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2050742"/>
            <a:ext cx="8064896" cy="4042554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 r="5206" b="-3913"/>
          <a:stretch>
            <a:fillRect/>
          </a:stretch>
        </p:blipFill>
        <p:spPr bwMode="auto">
          <a:xfrm>
            <a:off x="343716" y="2171418"/>
            <a:ext cx="6244508" cy="3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0"/>
          <p:cNvGrpSpPr/>
          <p:nvPr/>
        </p:nvGrpSpPr>
        <p:grpSpPr>
          <a:xfrm>
            <a:off x="1403648" y="1783894"/>
            <a:ext cx="7525344" cy="997034"/>
            <a:chOff x="-2268760" y="4005064"/>
            <a:chExt cx="7525344" cy="997034"/>
          </a:xfrm>
          <a:effectLst>
            <a:glow rad="228600">
              <a:schemeClr val="accent1">
                <a:satMod val="175000"/>
                <a:alpha val="40000"/>
              </a:schemeClr>
            </a:glow>
          </a:effectLst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r="58747" b="2413"/>
            <a:stretch>
              <a:fillRect/>
            </a:stretch>
          </p:blipFill>
          <p:spPr bwMode="auto">
            <a:xfrm>
              <a:off x="-2268760" y="4005064"/>
              <a:ext cx="7525344" cy="997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9"/>
            <p:cNvSpPr/>
            <p:nvPr/>
          </p:nvSpPr>
          <p:spPr>
            <a:xfrm>
              <a:off x="3998094" y="4521820"/>
              <a:ext cx="1152128" cy="2160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61151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ow to migrate?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25288" y="692696"/>
            <a:ext cx="8839200" cy="5410200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endParaRPr lang="en-GB" sz="32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algn="ctr">
              <a:buNone/>
            </a:pP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Libraries can use both WorldCat Resource Sharing and </a:t>
            </a:r>
            <a:r>
              <a:rPr lang="en-GB" sz="3200" dirty="0" err="1" smtClean="0">
                <a:solidFill>
                  <a:schemeClr val="accent6">
                    <a:lumMod val="50000"/>
                  </a:schemeClr>
                </a:solidFill>
              </a:rPr>
              <a:t>WorldShare</a:t>
            </a: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 ILL at the same time throughout the migration period (because the underlying database is the same).</a:t>
            </a:r>
          </a:p>
          <a:p>
            <a:pPr algn="ctr">
              <a:buNone/>
            </a:pP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So think about starting small – </a:t>
            </a:r>
          </a:p>
          <a:p>
            <a:pPr algn="ctr">
              <a:buNone/>
            </a:pP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Doing borrowing or lending in WS ILL</a:t>
            </a:r>
          </a:p>
          <a:p>
            <a:pPr algn="ctr">
              <a:buNone/>
            </a:pP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Or </a:t>
            </a:r>
          </a:p>
          <a:p>
            <a:pPr algn="ctr">
              <a:buNone/>
            </a:pPr>
            <a:r>
              <a:rPr lang="en-GB" sz="3200" dirty="0" smtClean="0">
                <a:solidFill>
                  <a:schemeClr val="accent6">
                    <a:lumMod val="50000"/>
                  </a:schemeClr>
                </a:solidFill>
              </a:rPr>
              <a:t>On Tuesdays or Fridays for example</a:t>
            </a:r>
            <a:endParaRPr lang="en-GB" sz="3200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78124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cfr.nichd.nih.gov/images/children_linedup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58119" y="2636912"/>
            <a:ext cx="5610225" cy="34671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27584" y="404813"/>
            <a:ext cx="7772400" cy="3352800"/>
          </a:xfrm>
        </p:spPr>
        <p:txBody>
          <a:bodyPr>
            <a:normAutofit/>
          </a:bodyPr>
          <a:lstStyle/>
          <a:p>
            <a:pPr algn="ctr"/>
            <a:r>
              <a:rPr lang="en-GB" dirty="0" smtClean="0"/>
              <a:t>Roadmap?</a:t>
            </a:r>
            <a:br>
              <a:rPr lang="en-GB" dirty="0" smtClean="0"/>
            </a:br>
            <a:r>
              <a:rPr lang="en-GB" sz="2800" dirty="0" smtClean="0">
                <a:hlinkClick r:id="rId3"/>
              </a:rPr>
              <a:t>http://oc.lc/3Bhn3x</a:t>
            </a:r>
            <a:r>
              <a:rPr lang="en-GB" sz="2800" dirty="0" smtClean="0"/>
              <a:t>   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85633827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395536" y="1916832"/>
            <a:ext cx="8229600" cy="4221163"/>
          </a:xfrm>
        </p:spPr>
        <p:txBody>
          <a:bodyPr/>
          <a:lstStyle/>
          <a:p>
            <a:pPr lvl="0">
              <a:defRPr/>
            </a:pPr>
            <a:endParaRPr lang="en-US" dirty="0" smtClean="0">
              <a:solidFill>
                <a:schemeClr val="accent3"/>
              </a:solidFill>
            </a:endParaRPr>
          </a:p>
          <a:p>
            <a:pPr>
              <a:defRPr/>
            </a:pPr>
            <a:r>
              <a:rPr lang="en-US" dirty="0" smtClean="0">
                <a:solidFill>
                  <a:schemeClr val="accent3"/>
                </a:solidFill>
              </a:rPr>
              <a:t>First pass buy it workflow</a:t>
            </a:r>
          </a:p>
          <a:p>
            <a:pPr lvl="0">
              <a:defRPr/>
            </a:pPr>
            <a:r>
              <a:rPr lang="en-US" dirty="0" smtClean="0">
                <a:solidFill>
                  <a:schemeClr val="accent3"/>
                </a:solidFill>
              </a:rPr>
              <a:t>Tight integration with Article Exchange</a:t>
            </a:r>
          </a:p>
          <a:p>
            <a:pPr lvl="0">
              <a:defRPr/>
            </a:pPr>
            <a:r>
              <a:rPr lang="en-US" dirty="0" smtClean="0">
                <a:solidFill>
                  <a:schemeClr val="accent3"/>
                </a:solidFill>
              </a:rPr>
              <a:t>Displaying links to open access resources </a:t>
            </a:r>
          </a:p>
          <a:p>
            <a:pPr lvl="0">
              <a:defRPr/>
            </a:pPr>
            <a:r>
              <a:rPr lang="en-US" dirty="0" smtClean="0">
                <a:solidFill>
                  <a:schemeClr val="accent3"/>
                </a:solidFill>
              </a:rPr>
              <a:t>Display supplier cost information in holdings display</a:t>
            </a:r>
          </a:p>
          <a:p>
            <a:pPr lvl="0">
              <a:defRPr/>
            </a:pPr>
            <a:r>
              <a:rPr lang="en-US" dirty="0" smtClean="0">
                <a:solidFill>
                  <a:schemeClr val="accent3"/>
                </a:solidFill>
              </a:rPr>
              <a:t>Changes to support variable lender ageing (EMST)</a:t>
            </a:r>
          </a:p>
          <a:p>
            <a:pPr lvl="1">
              <a:defRPr/>
            </a:pPr>
            <a:r>
              <a:rPr lang="en-US" sz="2400" dirty="0" smtClean="0">
                <a:solidFill>
                  <a:schemeClr val="accent3"/>
                </a:solidFill>
              </a:rPr>
              <a:t>Indicators in staff work form and holdings display</a:t>
            </a:r>
          </a:p>
          <a:p>
            <a:pPr lvl="0">
              <a:defRPr/>
            </a:pPr>
            <a:endParaRPr lang="en-US" dirty="0" smtClean="0">
              <a:solidFill>
                <a:schemeClr val="accent3"/>
              </a:solidFill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uture roadmap:</a:t>
            </a:r>
            <a:br>
              <a:rPr lang="en-US" dirty="0" smtClean="0"/>
            </a:br>
            <a:r>
              <a:rPr lang="en-US" dirty="0" smtClean="0"/>
              <a:t>NEW features in </a:t>
            </a:r>
            <a:r>
              <a:rPr lang="en-US" dirty="0" err="1" smtClean="0"/>
              <a:t>WorldShare</a:t>
            </a:r>
            <a:r>
              <a:rPr lang="en-US" dirty="0" smtClean="0"/>
              <a:t> ILL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45029" y="1750423"/>
            <a:ext cx="6975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F7600"/>
                </a:solidFill>
              </a:rPr>
              <a:t>http://oc.lc/3Bhn3x</a:t>
            </a:r>
          </a:p>
        </p:txBody>
      </p:sp>
    </p:spTree>
    <p:extLst>
      <p:ext uri="{BB962C8B-B14F-4D97-AF65-F5344CB8AC3E}">
        <p14:creationId xmlns:p14="http://schemas.microsoft.com/office/powerpoint/2010/main" val="12389303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if I use Clio?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0" y="3124200"/>
            <a:ext cx="7772400" cy="1500182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18920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You </a:t>
            </a:r>
            <a:r>
              <a:rPr lang="en-US" b="1" u="sng" dirty="0" smtClean="0"/>
              <a:t>must</a:t>
            </a:r>
            <a:r>
              <a:rPr lang="en-US" dirty="0" smtClean="0"/>
              <a:t> upgrade to version 6.7.1 by 01 July 2013</a:t>
            </a:r>
          </a:p>
          <a:p>
            <a:r>
              <a:rPr lang="en-US" dirty="0" smtClean="0"/>
              <a:t>Older versions of Clio </a:t>
            </a:r>
            <a:r>
              <a:rPr lang="en-US" b="1" u="sng" dirty="0" smtClean="0"/>
              <a:t>will not </a:t>
            </a:r>
            <a:r>
              <a:rPr lang="en-US" dirty="0" smtClean="0"/>
              <a:t>work as of 01 July 2013</a:t>
            </a:r>
          </a:p>
          <a:p>
            <a:endParaRPr lang="en-US" dirty="0" smtClean="0"/>
          </a:p>
          <a:p>
            <a:pPr>
              <a:buNone/>
            </a:pPr>
            <a:r>
              <a:rPr lang="en-US" dirty="0" smtClean="0"/>
              <a:t>WS ILL is optional, if you want to use WS ILL </a:t>
            </a:r>
          </a:p>
          <a:p>
            <a:pPr lvl="1"/>
            <a:r>
              <a:rPr lang="en-US" dirty="0" smtClean="0"/>
              <a:t>You may register to use WS ILL and look around.  </a:t>
            </a:r>
          </a:p>
          <a:p>
            <a:pPr lvl="1"/>
            <a:r>
              <a:rPr lang="en-US" u="sng" dirty="0" smtClean="0"/>
              <a:t>Do </a:t>
            </a:r>
            <a:r>
              <a:rPr lang="en-US" b="1" u="sng" dirty="0" smtClean="0"/>
              <a:t>not</a:t>
            </a:r>
            <a:r>
              <a:rPr lang="en-US" u="sng" dirty="0" smtClean="0"/>
              <a:t> action requests in WS ILL if you have not upgraded to 6.7.1</a:t>
            </a:r>
          </a:p>
          <a:p>
            <a:pPr lvl="1"/>
            <a:endParaRPr lang="en-US" u="sng" dirty="0" smtClean="0"/>
          </a:p>
          <a:p>
            <a:pPr>
              <a:buNone/>
            </a:pPr>
            <a:r>
              <a:rPr lang="en-GB" b="1" dirty="0" smtClean="0"/>
              <a:t>Contact: Clio Technical Support or Ex </a:t>
            </a:r>
            <a:r>
              <a:rPr lang="en-GB" b="1" dirty="0" err="1" smtClean="0"/>
              <a:t>Libris</a:t>
            </a:r>
            <a:endParaRPr lang="en-GB" b="1" dirty="0" smtClean="0"/>
          </a:p>
          <a:p>
            <a:pPr>
              <a:buNone/>
            </a:pPr>
            <a:r>
              <a:rPr lang="en-GB" dirty="0" smtClean="0"/>
              <a:t>	Email support@cliosoftware.com or call 817-726-3475</a:t>
            </a:r>
          </a:p>
          <a:p>
            <a:pPr lvl="1"/>
            <a:endParaRPr lang="en-US" u="sng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Clio 6.7.1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12091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rticle Exchange – documents uploaded</a:t>
            </a:r>
            <a:endParaRPr lang="en-GB" dirty="0"/>
          </a:p>
        </p:txBody>
      </p:sp>
      <p:graphicFrame>
        <p:nvGraphicFramePr>
          <p:cNvPr id="8" name="Chart Placeholder 7"/>
          <p:cNvGraphicFramePr>
            <a:graphicFrameLocks noGrp="1"/>
          </p:cNvGraphicFramePr>
          <p:nvPr>
            <p:ph type="chart" sz="quarter" idx="4294967295"/>
          </p:nvPr>
        </p:nvGraphicFramePr>
        <p:xfrm>
          <a:off x="0" y="836712"/>
          <a:ext cx="883920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020430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4" y="10"/>
              </a:cxn>
              <a:cxn ang="0">
                <a:pos x="8" y="14"/>
              </a:cxn>
              <a:cxn ang="0">
                <a:pos x="13" y="20"/>
              </a:cxn>
              <a:cxn ang="0">
                <a:pos x="16" y="17"/>
              </a:cxn>
              <a:cxn ang="0">
                <a:pos x="19" y="13"/>
              </a:cxn>
              <a:cxn ang="0">
                <a:pos x="23" y="11"/>
              </a:cxn>
              <a:cxn ang="0">
                <a:pos x="27" y="10"/>
              </a:cxn>
              <a:cxn ang="0">
                <a:pos x="36" y="8"/>
              </a:cxn>
              <a:cxn ang="0">
                <a:pos x="46" y="7"/>
              </a:cxn>
              <a:cxn ang="0">
                <a:pos x="54" y="7"/>
              </a:cxn>
              <a:cxn ang="0">
                <a:pos x="63" y="6"/>
              </a:cxn>
              <a:cxn ang="0">
                <a:pos x="66" y="5"/>
              </a:cxn>
              <a:cxn ang="0">
                <a:pos x="69" y="4"/>
              </a:cxn>
              <a:cxn ang="0">
                <a:pos x="71" y="2"/>
              </a:cxn>
              <a:cxn ang="0">
                <a:pos x="73" y="0"/>
              </a:cxn>
              <a:cxn ang="0">
                <a:pos x="0" y="0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/>
            <a:ahLst/>
            <a:cxnLst>
              <a:cxn ang="0">
                <a:pos x="1395" y="807"/>
              </a:cxn>
              <a:cxn ang="0">
                <a:pos x="1394" y="753"/>
              </a:cxn>
              <a:cxn ang="0">
                <a:pos x="1373" y="648"/>
              </a:cxn>
              <a:cxn ang="0">
                <a:pos x="1323" y="641"/>
              </a:cxn>
              <a:cxn ang="0">
                <a:pos x="1264" y="639"/>
              </a:cxn>
              <a:cxn ang="0">
                <a:pos x="1134" y="582"/>
              </a:cxn>
              <a:cxn ang="0">
                <a:pos x="973" y="537"/>
              </a:cxn>
              <a:cxn ang="0">
                <a:pos x="943" y="504"/>
              </a:cxn>
              <a:cxn ang="0">
                <a:pos x="901" y="516"/>
              </a:cxn>
              <a:cxn ang="0">
                <a:pos x="849" y="570"/>
              </a:cxn>
              <a:cxn ang="0">
                <a:pos x="675" y="619"/>
              </a:cxn>
              <a:cxn ang="0">
                <a:pos x="678" y="578"/>
              </a:cxn>
              <a:cxn ang="0">
                <a:pos x="721" y="548"/>
              </a:cxn>
              <a:cxn ang="0">
                <a:pos x="786" y="545"/>
              </a:cxn>
              <a:cxn ang="0">
                <a:pos x="724" y="528"/>
              </a:cxn>
              <a:cxn ang="0">
                <a:pos x="578" y="589"/>
              </a:cxn>
              <a:cxn ang="0">
                <a:pos x="547" y="625"/>
              </a:cxn>
              <a:cxn ang="0">
                <a:pos x="526" y="650"/>
              </a:cxn>
              <a:cxn ang="0">
                <a:pos x="452" y="654"/>
              </a:cxn>
              <a:cxn ang="0">
                <a:pos x="383" y="702"/>
              </a:cxn>
              <a:cxn ang="0">
                <a:pos x="252" y="750"/>
              </a:cxn>
              <a:cxn ang="0">
                <a:pos x="105" y="807"/>
              </a:cxn>
              <a:cxn ang="0">
                <a:pos x="4" y="813"/>
              </a:cxn>
              <a:cxn ang="0">
                <a:pos x="14" y="789"/>
              </a:cxn>
              <a:cxn ang="0">
                <a:pos x="127" y="761"/>
              </a:cxn>
              <a:cxn ang="0">
                <a:pos x="265" y="696"/>
              </a:cxn>
              <a:cxn ang="0">
                <a:pos x="300" y="626"/>
              </a:cxn>
              <a:cxn ang="0">
                <a:pos x="253" y="657"/>
              </a:cxn>
              <a:cxn ang="0">
                <a:pos x="150" y="643"/>
              </a:cxn>
              <a:cxn ang="0">
                <a:pos x="172" y="610"/>
              </a:cxn>
              <a:cxn ang="0">
                <a:pos x="240" y="547"/>
              </a:cxn>
              <a:cxn ang="0">
                <a:pos x="152" y="575"/>
              </a:cxn>
              <a:cxn ang="0">
                <a:pos x="143" y="536"/>
              </a:cxn>
              <a:cxn ang="0">
                <a:pos x="346" y="380"/>
              </a:cxn>
              <a:cxn ang="0">
                <a:pos x="444" y="382"/>
              </a:cxn>
              <a:cxn ang="0">
                <a:pos x="569" y="349"/>
              </a:cxn>
              <a:cxn ang="0">
                <a:pos x="592" y="306"/>
              </a:cxn>
              <a:cxn ang="0">
                <a:pos x="506" y="331"/>
              </a:cxn>
              <a:cxn ang="0">
                <a:pos x="438" y="318"/>
              </a:cxn>
              <a:cxn ang="0">
                <a:pos x="472" y="287"/>
              </a:cxn>
              <a:cxn ang="0">
                <a:pos x="711" y="238"/>
              </a:cxn>
              <a:cxn ang="0">
                <a:pos x="749" y="210"/>
              </a:cxn>
              <a:cxn ang="0">
                <a:pos x="684" y="176"/>
              </a:cxn>
              <a:cxn ang="0">
                <a:pos x="739" y="109"/>
              </a:cxn>
              <a:cxn ang="0">
                <a:pos x="988" y="27"/>
              </a:cxn>
              <a:cxn ang="0">
                <a:pos x="1157" y="9"/>
              </a:cxn>
              <a:cxn ang="0">
                <a:pos x="1277" y="2"/>
              </a:cxn>
              <a:cxn ang="0">
                <a:pos x="1354" y="10"/>
              </a:cxn>
              <a:cxn ang="0">
                <a:pos x="1516" y="34"/>
              </a:cxn>
              <a:cxn ang="0">
                <a:pos x="1761" y="41"/>
              </a:cxn>
              <a:cxn ang="0">
                <a:pos x="1287" y="540"/>
              </a:cxn>
              <a:cxn ang="0">
                <a:pos x="1321" y="571"/>
              </a:cxn>
              <a:cxn ang="0">
                <a:pos x="1327" y="601"/>
              </a:cxn>
              <a:cxn ang="0">
                <a:pos x="1382" y="599"/>
              </a:cxn>
              <a:cxn ang="0">
                <a:pos x="1429" y="577"/>
              </a:cxn>
              <a:cxn ang="0">
                <a:pos x="1475" y="667"/>
              </a:cxn>
              <a:cxn ang="0">
                <a:pos x="1462" y="706"/>
              </a:cxn>
              <a:cxn ang="0">
                <a:pos x="1449" y="742"/>
              </a:cxn>
              <a:cxn ang="0">
                <a:pos x="1477" y="783"/>
              </a:cxn>
              <a:cxn ang="0">
                <a:pos x="1477" y="811"/>
              </a:cxn>
              <a:cxn ang="0">
                <a:pos x="1426" y="848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/>
            <a:ahLst/>
            <a:cxnLst>
              <a:cxn ang="0">
                <a:pos x="2928" y="353"/>
              </a:cxn>
              <a:cxn ang="0">
                <a:pos x="2896" y="440"/>
              </a:cxn>
              <a:cxn ang="0">
                <a:pos x="2843" y="462"/>
              </a:cxn>
              <a:cxn ang="0">
                <a:pos x="2667" y="566"/>
              </a:cxn>
              <a:cxn ang="0">
                <a:pos x="2595" y="585"/>
              </a:cxn>
              <a:cxn ang="0">
                <a:pos x="2570" y="677"/>
              </a:cxn>
              <a:cxn ang="0">
                <a:pos x="2514" y="621"/>
              </a:cxn>
              <a:cxn ang="0">
                <a:pos x="2499" y="690"/>
              </a:cxn>
              <a:cxn ang="0">
                <a:pos x="2465" y="744"/>
              </a:cxn>
              <a:cxn ang="0">
                <a:pos x="2471" y="823"/>
              </a:cxn>
              <a:cxn ang="0">
                <a:pos x="2332" y="928"/>
              </a:cxn>
              <a:cxn ang="0">
                <a:pos x="2165" y="1045"/>
              </a:cxn>
              <a:cxn ang="0">
                <a:pos x="2112" y="1195"/>
              </a:cxn>
              <a:cxn ang="0">
                <a:pos x="2103" y="1457"/>
              </a:cxn>
              <a:cxn ang="0">
                <a:pos x="2026" y="1414"/>
              </a:cxn>
              <a:cxn ang="0">
                <a:pos x="1993" y="1326"/>
              </a:cxn>
              <a:cxn ang="0">
                <a:pos x="1959" y="1184"/>
              </a:cxn>
              <a:cxn ang="0">
                <a:pos x="1832" y="1168"/>
              </a:cxn>
              <a:cxn ang="0">
                <a:pos x="1653" y="1143"/>
              </a:cxn>
              <a:cxn ang="0">
                <a:pos x="1616" y="1186"/>
              </a:cxn>
              <a:cxn ang="0">
                <a:pos x="1548" y="1238"/>
              </a:cxn>
              <a:cxn ang="0">
                <a:pos x="1436" y="1192"/>
              </a:cxn>
              <a:cxn ang="0">
                <a:pos x="1231" y="1272"/>
              </a:cxn>
              <a:cxn ang="0">
                <a:pos x="1160" y="1392"/>
              </a:cxn>
              <a:cxn ang="0">
                <a:pos x="1080" y="1382"/>
              </a:cxn>
              <a:cxn ang="0">
                <a:pos x="1037" y="1227"/>
              </a:cxn>
              <a:cxn ang="0">
                <a:pos x="940" y="1190"/>
              </a:cxn>
              <a:cxn ang="0">
                <a:pos x="867" y="1219"/>
              </a:cxn>
              <a:cxn ang="0">
                <a:pos x="782" y="1087"/>
              </a:cxn>
              <a:cxn ang="0">
                <a:pos x="670" y="1065"/>
              </a:cxn>
              <a:cxn ang="0">
                <a:pos x="462" y="1065"/>
              </a:cxn>
              <a:cxn ang="0">
                <a:pos x="220" y="1016"/>
              </a:cxn>
              <a:cxn ang="0">
                <a:pos x="88" y="920"/>
              </a:cxn>
              <a:cxn ang="0">
                <a:pos x="39" y="848"/>
              </a:cxn>
              <a:cxn ang="0">
                <a:pos x="29" y="662"/>
              </a:cxn>
              <a:cxn ang="0">
                <a:pos x="0" y="604"/>
              </a:cxn>
              <a:cxn ang="0">
                <a:pos x="141" y="336"/>
              </a:cxn>
              <a:cxn ang="0">
                <a:pos x="247" y="176"/>
              </a:cxn>
              <a:cxn ang="0">
                <a:pos x="355" y="102"/>
              </a:cxn>
              <a:cxn ang="0">
                <a:pos x="376" y="120"/>
              </a:cxn>
              <a:cxn ang="0">
                <a:pos x="1827" y="0"/>
              </a:cxn>
              <a:cxn ang="0">
                <a:pos x="1926" y="55"/>
              </a:cxn>
              <a:cxn ang="0">
                <a:pos x="2015" y="69"/>
              </a:cxn>
              <a:cxn ang="0">
                <a:pos x="1929" y="128"/>
              </a:cxn>
              <a:cxn ang="0">
                <a:pos x="1977" y="166"/>
              </a:cxn>
              <a:cxn ang="0">
                <a:pos x="2094" y="155"/>
              </a:cxn>
              <a:cxn ang="0">
                <a:pos x="2284" y="193"/>
              </a:cxn>
              <a:cxn ang="0">
                <a:pos x="2217" y="204"/>
              </a:cxn>
              <a:cxn ang="0">
                <a:pos x="2087" y="264"/>
              </a:cxn>
              <a:cxn ang="0">
                <a:pos x="2021" y="355"/>
              </a:cxn>
              <a:cxn ang="0">
                <a:pos x="2012" y="451"/>
              </a:cxn>
              <a:cxn ang="0">
                <a:pos x="2076" y="417"/>
              </a:cxn>
              <a:cxn ang="0">
                <a:pos x="2205" y="252"/>
              </a:cxn>
              <a:cxn ang="0">
                <a:pos x="2267" y="303"/>
              </a:cxn>
              <a:cxn ang="0">
                <a:pos x="2299" y="394"/>
              </a:cxn>
              <a:cxn ang="0">
                <a:pos x="2206" y="454"/>
              </a:cxn>
              <a:cxn ang="0">
                <a:pos x="2317" y="457"/>
              </a:cxn>
              <a:cxn ang="0">
                <a:pos x="2570" y="373"/>
              </a:cxn>
              <a:cxn ang="0">
                <a:pos x="2730" y="252"/>
              </a:cxn>
              <a:cxn ang="0">
                <a:pos x="3016" y="203"/>
              </a:cxn>
              <a:cxn ang="0">
                <a:pos x="3136" y="118"/>
              </a:cxn>
              <a:cxn ang="0">
                <a:pos x="3149" y="184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/>
            <a:ahLst/>
            <a:cxnLst>
              <a:cxn ang="0">
                <a:pos x="583" y="277"/>
              </a:cxn>
              <a:cxn ang="0">
                <a:pos x="549" y="295"/>
              </a:cxn>
              <a:cxn ang="0">
                <a:pos x="484" y="387"/>
              </a:cxn>
              <a:cxn ang="0">
                <a:pos x="465" y="457"/>
              </a:cxn>
              <a:cxn ang="0">
                <a:pos x="481" y="522"/>
              </a:cxn>
              <a:cxn ang="0">
                <a:pos x="530" y="591"/>
              </a:cxn>
              <a:cxn ang="0">
                <a:pos x="579" y="616"/>
              </a:cxn>
              <a:cxn ang="0">
                <a:pos x="625" y="600"/>
              </a:cxn>
              <a:cxn ang="0">
                <a:pos x="654" y="653"/>
              </a:cxn>
              <a:cxn ang="0">
                <a:pos x="672" y="683"/>
              </a:cxn>
              <a:cxn ang="0">
                <a:pos x="714" y="687"/>
              </a:cxn>
              <a:cxn ang="0">
                <a:pos x="749" y="712"/>
              </a:cxn>
              <a:cxn ang="0">
                <a:pos x="770" y="756"/>
              </a:cxn>
              <a:cxn ang="0">
                <a:pos x="761" y="790"/>
              </a:cxn>
              <a:cxn ang="0">
                <a:pos x="760" y="825"/>
              </a:cxn>
              <a:cxn ang="0">
                <a:pos x="772" y="882"/>
              </a:cxn>
              <a:cxn ang="0">
                <a:pos x="758" y="932"/>
              </a:cxn>
              <a:cxn ang="0">
                <a:pos x="770" y="994"/>
              </a:cxn>
              <a:cxn ang="0">
                <a:pos x="763" y="1054"/>
              </a:cxn>
              <a:cxn ang="0">
                <a:pos x="691" y="1122"/>
              </a:cxn>
              <a:cxn ang="0">
                <a:pos x="648" y="1103"/>
              </a:cxn>
              <a:cxn ang="0">
                <a:pos x="602" y="1056"/>
              </a:cxn>
              <a:cxn ang="0">
                <a:pos x="463" y="998"/>
              </a:cxn>
              <a:cxn ang="0">
                <a:pos x="425" y="967"/>
              </a:cxn>
              <a:cxn ang="0">
                <a:pos x="331" y="894"/>
              </a:cxn>
              <a:cxn ang="0">
                <a:pos x="318" y="867"/>
              </a:cxn>
              <a:cxn ang="0">
                <a:pos x="328" y="815"/>
              </a:cxn>
              <a:cxn ang="0">
                <a:pos x="290" y="778"/>
              </a:cxn>
              <a:cxn ang="0">
                <a:pos x="259" y="745"/>
              </a:cxn>
              <a:cxn ang="0">
                <a:pos x="243" y="689"/>
              </a:cxn>
              <a:cxn ang="0">
                <a:pos x="153" y="530"/>
              </a:cxn>
              <a:cxn ang="0">
                <a:pos x="120" y="487"/>
              </a:cxn>
              <a:cxn ang="0">
                <a:pos x="90" y="432"/>
              </a:cxn>
              <a:cxn ang="0">
                <a:pos x="22" y="397"/>
              </a:cxn>
              <a:cxn ang="0">
                <a:pos x="0" y="363"/>
              </a:cxn>
              <a:cxn ang="0">
                <a:pos x="13" y="276"/>
              </a:cxn>
              <a:cxn ang="0">
                <a:pos x="28" y="246"/>
              </a:cxn>
              <a:cxn ang="0">
                <a:pos x="72" y="222"/>
              </a:cxn>
              <a:cxn ang="0">
                <a:pos x="95" y="272"/>
              </a:cxn>
              <a:cxn ang="0">
                <a:pos x="158" y="307"/>
              </a:cxn>
              <a:cxn ang="0">
                <a:pos x="184" y="271"/>
              </a:cxn>
              <a:cxn ang="0">
                <a:pos x="201" y="225"/>
              </a:cxn>
              <a:cxn ang="0">
                <a:pos x="270" y="170"/>
              </a:cxn>
              <a:cxn ang="0">
                <a:pos x="344" y="120"/>
              </a:cxn>
              <a:cxn ang="0">
                <a:pos x="357" y="70"/>
              </a:cxn>
              <a:cxn ang="0">
                <a:pos x="347" y="5"/>
              </a:cxn>
              <a:cxn ang="0">
                <a:pos x="422" y="53"/>
              </a:cxn>
              <a:cxn ang="0">
                <a:pos x="467" y="107"/>
              </a:cxn>
              <a:cxn ang="0">
                <a:pos x="506" y="154"/>
              </a:cxn>
              <a:cxn ang="0">
                <a:pos x="561" y="157"/>
              </a:cxn>
              <a:cxn ang="0">
                <a:pos x="617" y="149"/>
              </a:cxn>
              <a:cxn ang="0">
                <a:pos x="640" y="156"/>
              </a:cxn>
              <a:cxn ang="0">
                <a:pos x="654" y="193"/>
              </a:cxn>
              <a:cxn ang="0">
                <a:pos x="627" y="210"/>
              </a:cxn>
              <a:cxn ang="0">
                <a:pos x="627" y="240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/>
            <a:ahLst/>
            <a:cxnLst>
              <a:cxn ang="0">
                <a:pos x="418" y="2021"/>
              </a:cxn>
              <a:cxn ang="0">
                <a:pos x="342" y="1955"/>
              </a:cxn>
              <a:cxn ang="0">
                <a:pos x="339" y="1893"/>
              </a:cxn>
              <a:cxn ang="0">
                <a:pos x="345" y="1843"/>
              </a:cxn>
              <a:cxn ang="0">
                <a:pos x="362" y="1791"/>
              </a:cxn>
              <a:cxn ang="0">
                <a:pos x="354" y="1740"/>
              </a:cxn>
              <a:cxn ang="0">
                <a:pos x="332" y="1683"/>
              </a:cxn>
              <a:cxn ang="0">
                <a:pos x="303" y="1581"/>
              </a:cxn>
              <a:cxn ang="0">
                <a:pos x="226" y="1460"/>
              </a:cxn>
              <a:cxn ang="0">
                <a:pos x="206" y="1381"/>
              </a:cxn>
              <a:cxn ang="0">
                <a:pos x="217" y="1299"/>
              </a:cxn>
              <a:cxn ang="0">
                <a:pos x="208" y="1235"/>
              </a:cxn>
              <a:cxn ang="0">
                <a:pos x="185" y="1165"/>
              </a:cxn>
              <a:cxn ang="0">
                <a:pos x="211" y="1123"/>
              </a:cxn>
              <a:cxn ang="0">
                <a:pos x="195" y="1082"/>
              </a:cxn>
              <a:cxn ang="0">
                <a:pos x="211" y="1025"/>
              </a:cxn>
              <a:cxn ang="0">
                <a:pos x="210" y="993"/>
              </a:cxn>
              <a:cxn ang="0">
                <a:pos x="187" y="927"/>
              </a:cxn>
              <a:cxn ang="0">
                <a:pos x="136" y="852"/>
              </a:cxn>
              <a:cxn ang="0">
                <a:pos x="134" y="686"/>
              </a:cxn>
              <a:cxn ang="0">
                <a:pos x="183" y="584"/>
              </a:cxn>
              <a:cxn ang="0">
                <a:pos x="189" y="522"/>
              </a:cxn>
              <a:cxn ang="0">
                <a:pos x="160" y="459"/>
              </a:cxn>
              <a:cxn ang="0">
                <a:pos x="182" y="406"/>
              </a:cxn>
              <a:cxn ang="0">
                <a:pos x="229" y="346"/>
              </a:cxn>
              <a:cxn ang="0">
                <a:pos x="200" y="308"/>
              </a:cxn>
              <a:cxn ang="0">
                <a:pos x="148" y="222"/>
              </a:cxn>
              <a:cxn ang="0">
                <a:pos x="129" y="125"/>
              </a:cxn>
              <a:cxn ang="0">
                <a:pos x="91" y="37"/>
              </a:cxn>
              <a:cxn ang="0">
                <a:pos x="0" y="44"/>
              </a:cxn>
              <a:cxn ang="0">
                <a:pos x="31" y="200"/>
              </a:cxn>
              <a:cxn ang="0">
                <a:pos x="42" y="304"/>
              </a:cxn>
              <a:cxn ang="0">
                <a:pos x="27" y="374"/>
              </a:cxn>
              <a:cxn ang="0">
                <a:pos x="52" y="524"/>
              </a:cxn>
              <a:cxn ang="0">
                <a:pos x="46" y="649"/>
              </a:cxn>
              <a:cxn ang="0">
                <a:pos x="36" y="718"/>
              </a:cxn>
              <a:cxn ang="0">
                <a:pos x="52" y="767"/>
              </a:cxn>
              <a:cxn ang="0">
                <a:pos x="64" y="871"/>
              </a:cxn>
              <a:cxn ang="0">
                <a:pos x="81" y="913"/>
              </a:cxn>
              <a:cxn ang="0">
                <a:pos x="73" y="1045"/>
              </a:cxn>
              <a:cxn ang="0">
                <a:pos x="63" y="1152"/>
              </a:cxn>
              <a:cxn ang="0">
                <a:pos x="40" y="1188"/>
              </a:cxn>
              <a:cxn ang="0">
                <a:pos x="60" y="1258"/>
              </a:cxn>
              <a:cxn ang="0">
                <a:pos x="106" y="1343"/>
              </a:cxn>
              <a:cxn ang="0">
                <a:pos x="93" y="1396"/>
              </a:cxn>
              <a:cxn ang="0">
                <a:pos x="106" y="1449"/>
              </a:cxn>
              <a:cxn ang="0">
                <a:pos x="164" y="1467"/>
              </a:cxn>
              <a:cxn ang="0">
                <a:pos x="209" y="1621"/>
              </a:cxn>
              <a:cxn ang="0">
                <a:pos x="227" y="1709"/>
              </a:cxn>
              <a:cxn ang="0">
                <a:pos x="151" y="1749"/>
              </a:cxn>
              <a:cxn ang="0">
                <a:pos x="207" y="1776"/>
              </a:cxn>
              <a:cxn ang="0">
                <a:pos x="250" y="1820"/>
              </a:cxn>
              <a:cxn ang="0">
                <a:pos x="275" y="1871"/>
              </a:cxn>
              <a:cxn ang="0">
                <a:pos x="308" y="1961"/>
              </a:cxn>
              <a:cxn ang="0">
                <a:pos x="359" y="2013"/>
              </a:cxn>
              <a:cxn ang="0">
                <a:pos x="393" y="2048"/>
              </a:cxn>
              <a:cxn ang="0">
                <a:pos x="424" y="2074"/>
              </a:cxn>
              <a:cxn ang="0">
                <a:pos x="465" y="2110"/>
              </a:cxn>
              <a:cxn ang="0">
                <a:pos x="519" y="2140"/>
              </a:cxn>
              <a:cxn ang="0">
                <a:pos x="538" y="2151"/>
              </a:cxn>
              <a:cxn ang="0">
                <a:pos x="586" y="2098"/>
              </a:cxn>
              <a:cxn ang="0">
                <a:pos x="591" y="2071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/>
            <a:ahLst/>
            <a:cxnLst>
              <a:cxn ang="0">
                <a:pos x="440" y="896"/>
              </a:cxn>
              <a:cxn ang="0">
                <a:pos x="505" y="985"/>
              </a:cxn>
              <a:cxn ang="0">
                <a:pos x="572" y="1054"/>
              </a:cxn>
              <a:cxn ang="0">
                <a:pos x="716" y="1098"/>
              </a:cxn>
              <a:cxn ang="0">
                <a:pos x="798" y="1204"/>
              </a:cxn>
              <a:cxn ang="0">
                <a:pos x="846" y="1292"/>
              </a:cxn>
              <a:cxn ang="0">
                <a:pos x="939" y="1355"/>
              </a:cxn>
              <a:cxn ang="0">
                <a:pos x="957" y="1466"/>
              </a:cxn>
              <a:cxn ang="0">
                <a:pos x="976" y="1541"/>
              </a:cxn>
              <a:cxn ang="0">
                <a:pos x="992" y="1632"/>
              </a:cxn>
              <a:cxn ang="0">
                <a:pos x="1131" y="1698"/>
              </a:cxn>
              <a:cxn ang="0">
                <a:pos x="1193" y="1805"/>
              </a:cxn>
              <a:cxn ang="0">
                <a:pos x="1243" y="1864"/>
              </a:cxn>
              <a:cxn ang="0">
                <a:pos x="1183" y="2003"/>
              </a:cxn>
              <a:cxn ang="0">
                <a:pos x="1084" y="2128"/>
              </a:cxn>
              <a:cxn ang="0">
                <a:pos x="1180" y="2161"/>
              </a:cxn>
              <a:cxn ang="0">
                <a:pos x="1296" y="2234"/>
              </a:cxn>
              <a:cxn ang="0">
                <a:pos x="1419" y="2198"/>
              </a:cxn>
              <a:cxn ang="0">
                <a:pos x="1518" y="2036"/>
              </a:cxn>
              <a:cxn ang="0">
                <a:pos x="1512" y="1918"/>
              </a:cxn>
              <a:cxn ang="0">
                <a:pos x="1561" y="1793"/>
              </a:cxn>
              <a:cxn ang="0">
                <a:pos x="1706" y="1727"/>
              </a:cxn>
              <a:cxn ang="0">
                <a:pos x="1798" y="1681"/>
              </a:cxn>
              <a:cxn ang="0">
                <a:pos x="1897" y="1641"/>
              </a:cxn>
              <a:cxn ang="0">
                <a:pos x="1982" y="1400"/>
              </a:cxn>
              <a:cxn ang="0">
                <a:pos x="2014" y="1288"/>
              </a:cxn>
              <a:cxn ang="0">
                <a:pos x="2002" y="1090"/>
              </a:cxn>
              <a:cxn ang="0">
                <a:pos x="2073" y="1009"/>
              </a:cxn>
              <a:cxn ang="0">
                <a:pos x="2190" y="877"/>
              </a:cxn>
              <a:cxn ang="0">
                <a:pos x="2222" y="732"/>
              </a:cxn>
              <a:cxn ang="0">
                <a:pos x="2157" y="599"/>
              </a:cxn>
              <a:cxn ang="0">
                <a:pos x="2059" y="563"/>
              </a:cxn>
              <a:cxn ang="0">
                <a:pos x="1921" y="462"/>
              </a:cxn>
              <a:cxn ang="0">
                <a:pos x="1742" y="450"/>
              </a:cxn>
              <a:cxn ang="0">
                <a:pos x="1670" y="447"/>
              </a:cxn>
              <a:cxn ang="0">
                <a:pos x="1636" y="394"/>
              </a:cxn>
              <a:cxn ang="0">
                <a:pos x="1512" y="348"/>
              </a:cxn>
              <a:cxn ang="0">
                <a:pos x="1411" y="409"/>
              </a:cxn>
              <a:cxn ang="0">
                <a:pos x="1338" y="405"/>
              </a:cxn>
              <a:cxn ang="0">
                <a:pos x="1247" y="384"/>
              </a:cxn>
              <a:cxn ang="0">
                <a:pos x="1317" y="268"/>
              </a:cxn>
              <a:cxn ang="0">
                <a:pos x="1338" y="184"/>
              </a:cxn>
              <a:cxn ang="0">
                <a:pos x="1291" y="68"/>
              </a:cxn>
              <a:cxn ang="0">
                <a:pos x="1124" y="135"/>
              </a:cxn>
              <a:cxn ang="0">
                <a:pos x="1003" y="170"/>
              </a:cxn>
              <a:cxn ang="0">
                <a:pos x="960" y="187"/>
              </a:cxn>
              <a:cxn ang="0">
                <a:pos x="812" y="176"/>
              </a:cxn>
              <a:cxn ang="0">
                <a:pos x="811" y="67"/>
              </a:cxn>
              <a:cxn ang="0">
                <a:pos x="745" y="0"/>
              </a:cxn>
              <a:cxn ang="0">
                <a:pos x="700" y="31"/>
              </a:cxn>
              <a:cxn ang="0">
                <a:pos x="589" y="70"/>
              </a:cxn>
              <a:cxn ang="0">
                <a:pos x="560" y="198"/>
              </a:cxn>
              <a:cxn ang="0">
                <a:pos x="453" y="258"/>
              </a:cxn>
              <a:cxn ang="0">
                <a:pos x="286" y="197"/>
              </a:cxn>
              <a:cxn ang="0">
                <a:pos x="253" y="240"/>
              </a:cxn>
              <a:cxn ang="0">
                <a:pos x="198" y="311"/>
              </a:cxn>
              <a:cxn ang="0">
                <a:pos x="246" y="388"/>
              </a:cxn>
              <a:cxn ang="0">
                <a:pos x="194" y="560"/>
              </a:cxn>
              <a:cxn ang="0">
                <a:pos x="100" y="567"/>
              </a:cxn>
              <a:cxn ang="0">
                <a:pos x="16" y="687"/>
              </a:cxn>
              <a:cxn ang="0">
                <a:pos x="22" y="824"/>
              </a:cxn>
              <a:cxn ang="0">
                <a:pos x="120" y="905"/>
              </a:cxn>
              <a:cxn ang="0">
                <a:pos x="191" y="949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107" y="18"/>
              </a:cxn>
              <a:cxn ang="0">
                <a:pos x="112" y="12"/>
              </a:cxn>
              <a:cxn ang="0">
                <a:pos x="117" y="8"/>
              </a:cxn>
              <a:cxn ang="0">
                <a:pos x="122" y="5"/>
              </a:cxn>
              <a:cxn ang="0">
                <a:pos x="127" y="3"/>
              </a:cxn>
              <a:cxn ang="0">
                <a:pos x="137" y="1"/>
              </a:cxn>
              <a:cxn ang="0">
                <a:pos x="148" y="0"/>
              </a:cxn>
              <a:cxn ang="0">
                <a:pos x="151" y="0"/>
              </a:cxn>
              <a:cxn ang="0">
                <a:pos x="161" y="0"/>
              </a:cxn>
              <a:cxn ang="0">
                <a:pos x="161" y="92"/>
              </a:cxn>
              <a:cxn ang="0">
                <a:pos x="155" y="93"/>
              </a:cxn>
              <a:cxn ang="0">
                <a:pos x="150" y="93"/>
              </a:cxn>
              <a:cxn ang="0">
                <a:pos x="145" y="92"/>
              </a:cxn>
              <a:cxn ang="0">
                <a:pos x="140" y="91"/>
              </a:cxn>
              <a:cxn ang="0">
                <a:pos x="129" y="88"/>
              </a:cxn>
              <a:cxn ang="0">
                <a:pos x="120" y="82"/>
              </a:cxn>
              <a:cxn ang="0">
                <a:pos x="111" y="75"/>
              </a:cxn>
              <a:cxn ang="0">
                <a:pos x="104" y="67"/>
              </a:cxn>
              <a:cxn ang="0">
                <a:pos x="97" y="59"/>
              </a:cxn>
              <a:cxn ang="0">
                <a:pos x="94" y="49"/>
              </a:cxn>
              <a:cxn ang="0">
                <a:pos x="92" y="50"/>
              </a:cxn>
              <a:cxn ang="0">
                <a:pos x="89" y="51"/>
              </a:cxn>
              <a:cxn ang="0">
                <a:pos x="86" y="51"/>
              </a:cxn>
              <a:cxn ang="0">
                <a:pos x="84" y="51"/>
              </a:cxn>
              <a:cxn ang="0">
                <a:pos x="78" y="50"/>
              </a:cxn>
              <a:cxn ang="0">
                <a:pos x="74" y="49"/>
              </a:cxn>
              <a:cxn ang="0">
                <a:pos x="65" y="48"/>
              </a:cxn>
              <a:cxn ang="0">
                <a:pos x="55" y="45"/>
              </a:cxn>
              <a:cxn ang="0">
                <a:pos x="44" y="40"/>
              </a:cxn>
              <a:cxn ang="0">
                <a:pos x="32" y="34"/>
              </a:cxn>
              <a:cxn ang="0">
                <a:pos x="21" y="26"/>
              </a:cxn>
              <a:cxn ang="0">
                <a:pos x="12" y="18"/>
              </a:cxn>
              <a:cxn ang="0">
                <a:pos x="8" y="14"/>
              </a:cxn>
              <a:cxn ang="0">
                <a:pos x="5" y="9"/>
              </a:cxn>
              <a:cxn ang="0">
                <a:pos x="3" y="5"/>
              </a:cxn>
              <a:cxn ang="0">
                <a:pos x="0" y="0"/>
              </a:cxn>
              <a:cxn ang="0">
                <a:pos x="94" y="0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/>
            <a:ahLst/>
            <a:cxnLst>
              <a:cxn ang="0">
                <a:pos x="38" y="3"/>
              </a:cxn>
              <a:cxn ang="0">
                <a:pos x="37" y="0"/>
              </a:cxn>
              <a:cxn ang="0">
                <a:pos x="57" y="3"/>
              </a:cxn>
              <a:cxn ang="0">
                <a:pos x="110" y="14"/>
              </a:cxn>
              <a:cxn ang="0">
                <a:pos x="155" y="25"/>
              </a:cxn>
              <a:cxn ang="0">
                <a:pos x="181" y="28"/>
              </a:cxn>
              <a:cxn ang="0">
                <a:pos x="192" y="35"/>
              </a:cxn>
              <a:cxn ang="0">
                <a:pos x="188" y="47"/>
              </a:cxn>
              <a:cxn ang="0">
                <a:pos x="175" y="82"/>
              </a:cxn>
              <a:cxn ang="0">
                <a:pos x="158" y="127"/>
              </a:cxn>
              <a:cxn ang="0">
                <a:pos x="147" y="165"/>
              </a:cxn>
              <a:cxn ang="0">
                <a:pos x="146" y="207"/>
              </a:cxn>
              <a:cxn ang="0">
                <a:pos x="144" y="249"/>
              </a:cxn>
              <a:cxn ang="0">
                <a:pos x="134" y="277"/>
              </a:cxn>
              <a:cxn ang="0">
                <a:pos x="106" y="296"/>
              </a:cxn>
              <a:cxn ang="0">
                <a:pos x="83" y="303"/>
              </a:cxn>
              <a:cxn ang="0">
                <a:pos x="72" y="307"/>
              </a:cxn>
              <a:cxn ang="0">
                <a:pos x="52" y="305"/>
              </a:cxn>
              <a:cxn ang="0">
                <a:pos x="32" y="291"/>
              </a:cxn>
              <a:cxn ang="0">
                <a:pos x="30" y="277"/>
              </a:cxn>
              <a:cxn ang="0">
                <a:pos x="22" y="257"/>
              </a:cxn>
              <a:cxn ang="0">
                <a:pos x="10" y="231"/>
              </a:cxn>
              <a:cxn ang="0">
                <a:pos x="2" y="211"/>
              </a:cxn>
              <a:cxn ang="0">
                <a:pos x="0" y="197"/>
              </a:cxn>
              <a:cxn ang="0">
                <a:pos x="0" y="180"/>
              </a:cxn>
              <a:cxn ang="0">
                <a:pos x="2" y="165"/>
              </a:cxn>
              <a:cxn ang="0">
                <a:pos x="11" y="145"/>
              </a:cxn>
              <a:cxn ang="0">
                <a:pos x="33" y="109"/>
              </a:cxn>
              <a:cxn ang="0">
                <a:pos x="48" y="81"/>
              </a:cxn>
              <a:cxn ang="0">
                <a:pos x="52" y="62"/>
              </a:cxn>
              <a:cxn ang="0">
                <a:pos x="53" y="41"/>
              </a:cxn>
              <a:cxn ang="0">
                <a:pos x="55" y="30"/>
              </a:cxn>
              <a:cxn ang="0">
                <a:pos x="57" y="26"/>
              </a:cxn>
              <a:cxn ang="0">
                <a:pos x="60" y="22"/>
              </a:cxn>
              <a:cxn ang="0">
                <a:pos x="44" y="7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95" y="13"/>
              </a:cxn>
              <a:cxn ang="0">
                <a:pos x="116" y="23"/>
              </a:cxn>
              <a:cxn ang="0">
                <a:pos x="80" y="47"/>
              </a:cxn>
              <a:cxn ang="0">
                <a:pos x="64" y="62"/>
              </a:cxn>
              <a:cxn ang="0">
                <a:pos x="77" y="69"/>
              </a:cxn>
              <a:cxn ang="0">
                <a:pos x="167" y="79"/>
              </a:cxn>
              <a:cxn ang="0">
                <a:pos x="210" y="109"/>
              </a:cxn>
              <a:cxn ang="0">
                <a:pos x="154" y="127"/>
              </a:cxn>
              <a:cxn ang="0">
                <a:pos x="147" y="138"/>
              </a:cxn>
              <a:cxn ang="0">
                <a:pos x="191" y="143"/>
              </a:cxn>
              <a:cxn ang="0">
                <a:pos x="211" y="156"/>
              </a:cxn>
              <a:cxn ang="0">
                <a:pos x="243" y="191"/>
              </a:cxn>
              <a:cxn ang="0">
                <a:pos x="258" y="212"/>
              </a:cxn>
              <a:cxn ang="0">
                <a:pos x="260" y="237"/>
              </a:cxn>
              <a:cxn ang="0">
                <a:pos x="272" y="254"/>
              </a:cxn>
              <a:cxn ang="0">
                <a:pos x="286" y="279"/>
              </a:cxn>
              <a:cxn ang="0">
                <a:pos x="306" y="297"/>
              </a:cxn>
              <a:cxn ang="0">
                <a:pos x="327" y="320"/>
              </a:cxn>
              <a:cxn ang="0">
                <a:pos x="346" y="337"/>
              </a:cxn>
              <a:cxn ang="0">
                <a:pos x="370" y="341"/>
              </a:cxn>
              <a:cxn ang="0">
                <a:pos x="396" y="365"/>
              </a:cxn>
              <a:cxn ang="0">
                <a:pos x="395" y="395"/>
              </a:cxn>
              <a:cxn ang="0">
                <a:pos x="382" y="404"/>
              </a:cxn>
              <a:cxn ang="0">
                <a:pos x="367" y="415"/>
              </a:cxn>
              <a:cxn ang="0">
                <a:pos x="368" y="426"/>
              </a:cxn>
              <a:cxn ang="0">
                <a:pos x="376" y="443"/>
              </a:cxn>
              <a:cxn ang="0">
                <a:pos x="359" y="463"/>
              </a:cxn>
              <a:cxn ang="0">
                <a:pos x="146" y="500"/>
              </a:cxn>
              <a:cxn ang="0">
                <a:pos x="68" y="508"/>
              </a:cxn>
              <a:cxn ang="0">
                <a:pos x="53" y="518"/>
              </a:cxn>
              <a:cxn ang="0">
                <a:pos x="58" y="493"/>
              </a:cxn>
              <a:cxn ang="0">
                <a:pos x="71" y="476"/>
              </a:cxn>
              <a:cxn ang="0">
                <a:pos x="114" y="458"/>
              </a:cxn>
              <a:cxn ang="0">
                <a:pos x="172" y="439"/>
              </a:cxn>
              <a:cxn ang="0">
                <a:pos x="179" y="426"/>
              </a:cxn>
              <a:cxn ang="0">
                <a:pos x="171" y="434"/>
              </a:cxn>
              <a:cxn ang="0">
                <a:pos x="111" y="432"/>
              </a:cxn>
              <a:cxn ang="0">
                <a:pos x="76" y="420"/>
              </a:cxn>
              <a:cxn ang="0">
                <a:pos x="77" y="402"/>
              </a:cxn>
              <a:cxn ang="0">
                <a:pos x="95" y="391"/>
              </a:cxn>
              <a:cxn ang="0">
                <a:pos x="87" y="352"/>
              </a:cxn>
              <a:cxn ang="0">
                <a:pos x="105" y="329"/>
              </a:cxn>
              <a:cxn ang="0">
                <a:pos x="154" y="309"/>
              </a:cxn>
              <a:cxn ang="0">
                <a:pos x="172" y="291"/>
              </a:cxn>
              <a:cxn ang="0">
                <a:pos x="148" y="271"/>
              </a:cxn>
              <a:cxn ang="0">
                <a:pos x="139" y="247"/>
              </a:cxn>
              <a:cxn ang="0">
                <a:pos x="94" y="239"/>
              </a:cxn>
              <a:cxn ang="0">
                <a:pos x="80" y="216"/>
              </a:cxn>
              <a:cxn ang="0">
                <a:pos x="90" y="192"/>
              </a:cxn>
              <a:cxn ang="0">
                <a:pos x="100" y="168"/>
              </a:cxn>
              <a:cxn ang="0">
                <a:pos x="73" y="186"/>
              </a:cxn>
              <a:cxn ang="0">
                <a:pos x="22" y="162"/>
              </a:cxn>
              <a:cxn ang="0">
                <a:pos x="20" y="142"/>
              </a:cxn>
              <a:cxn ang="0">
                <a:pos x="14" y="131"/>
              </a:cxn>
              <a:cxn ang="0">
                <a:pos x="20" y="63"/>
              </a:cxn>
              <a:cxn ang="0">
                <a:pos x="19" y="49"/>
              </a:cxn>
              <a:cxn ang="0">
                <a:pos x="4" y="40"/>
              </a:cxn>
              <a:cxn ang="0">
                <a:pos x="20" y="19"/>
              </a:cxn>
              <a:cxn ang="0">
                <a:pos x="3" y="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/>
            <a:ahLst/>
            <a:cxnLst>
              <a:cxn ang="0">
                <a:pos x="190" y="21"/>
              </a:cxn>
              <a:cxn ang="0">
                <a:pos x="177" y="31"/>
              </a:cxn>
              <a:cxn ang="0">
                <a:pos x="174" y="45"/>
              </a:cxn>
              <a:cxn ang="0">
                <a:pos x="168" y="53"/>
              </a:cxn>
              <a:cxn ang="0">
                <a:pos x="166" y="61"/>
              </a:cxn>
              <a:cxn ang="0">
                <a:pos x="177" y="74"/>
              </a:cxn>
              <a:cxn ang="0">
                <a:pos x="155" y="86"/>
              </a:cxn>
              <a:cxn ang="0">
                <a:pos x="108" y="96"/>
              </a:cxn>
              <a:cxn ang="0">
                <a:pos x="77" y="97"/>
              </a:cxn>
              <a:cxn ang="0">
                <a:pos x="52" y="95"/>
              </a:cxn>
              <a:cxn ang="0">
                <a:pos x="4" y="111"/>
              </a:cxn>
              <a:cxn ang="0">
                <a:pos x="0" y="129"/>
              </a:cxn>
              <a:cxn ang="0">
                <a:pos x="4" y="131"/>
              </a:cxn>
              <a:cxn ang="0">
                <a:pos x="12" y="131"/>
              </a:cxn>
              <a:cxn ang="0">
                <a:pos x="51" y="129"/>
              </a:cxn>
              <a:cxn ang="0">
                <a:pos x="114" y="127"/>
              </a:cxn>
              <a:cxn ang="0">
                <a:pos x="123" y="134"/>
              </a:cxn>
              <a:cxn ang="0">
                <a:pos x="137" y="141"/>
              </a:cxn>
              <a:cxn ang="0">
                <a:pos x="159" y="147"/>
              </a:cxn>
              <a:cxn ang="0">
                <a:pos x="185" y="148"/>
              </a:cxn>
              <a:cxn ang="0">
                <a:pos x="210" y="148"/>
              </a:cxn>
              <a:cxn ang="0">
                <a:pos x="233" y="148"/>
              </a:cxn>
              <a:cxn ang="0">
                <a:pos x="255" y="148"/>
              </a:cxn>
              <a:cxn ang="0">
                <a:pos x="275" y="143"/>
              </a:cxn>
              <a:cxn ang="0">
                <a:pos x="301" y="134"/>
              </a:cxn>
              <a:cxn ang="0">
                <a:pos x="334" y="121"/>
              </a:cxn>
              <a:cxn ang="0">
                <a:pos x="353" y="103"/>
              </a:cxn>
              <a:cxn ang="0">
                <a:pos x="372" y="72"/>
              </a:cxn>
              <a:cxn ang="0">
                <a:pos x="376" y="52"/>
              </a:cxn>
              <a:cxn ang="0">
                <a:pos x="363" y="44"/>
              </a:cxn>
              <a:cxn ang="0">
                <a:pos x="357" y="32"/>
              </a:cxn>
              <a:cxn ang="0">
                <a:pos x="347" y="22"/>
              </a:cxn>
              <a:cxn ang="0">
                <a:pos x="334" y="17"/>
              </a:cxn>
              <a:cxn ang="0">
                <a:pos x="319" y="8"/>
              </a:cxn>
              <a:cxn ang="0">
                <a:pos x="203" y="18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/>
            <a:ahLst/>
            <a:cxnLst>
              <a:cxn ang="0">
                <a:pos x="345" y="493"/>
              </a:cxn>
              <a:cxn ang="0">
                <a:pos x="256" y="505"/>
              </a:cxn>
              <a:cxn ang="0">
                <a:pos x="235" y="517"/>
              </a:cxn>
              <a:cxn ang="0">
                <a:pos x="210" y="522"/>
              </a:cxn>
              <a:cxn ang="0">
                <a:pos x="155" y="524"/>
              </a:cxn>
              <a:cxn ang="0">
                <a:pos x="106" y="522"/>
              </a:cxn>
              <a:cxn ang="0">
                <a:pos x="94" y="516"/>
              </a:cxn>
              <a:cxn ang="0">
                <a:pos x="71" y="509"/>
              </a:cxn>
              <a:cxn ang="0">
                <a:pos x="36" y="496"/>
              </a:cxn>
              <a:cxn ang="0">
                <a:pos x="22" y="486"/>
              </a:cxn>
              <a:cxn ang="0">
                <a:pos x="20" y="477"/>
              </a:cxn>
              <a:cxn ang="0">
                <a:pos x="27" y="463"/>
              </a:cxn>
              <a:cxn ang="0">
                <a:pos x="32" y="445"/>
              </a:cxn>
              <a:cxn ang="0">
                <a:pos x="28" y="432"/>
              </a:cxn>
              <a:cxn ang="0">
                <a:pos x="10" y="417"/>
              </a:cxn>
              <a:cxn ang="0">
                <a:pos x="1" y="407"/>
              </a:cxn>
              <a:cxn ang="0">
                <a:pos x="1" y="391"/>
              </a:cxn>
              <a:cxn ang="0">
                <a:pos x="17" y="360"/>
              </a:cxn>
              <a:cxn ang="0">
                <a:pos x="48" y="328"/>
              </a:cxn>
              <a:cxn ang="0">
                <a:pos x="86" y="299"/>
              </a:cxn>
              <a:cxn ang="0">
                <a:pos x="124" y="279"/>
              </a:cxn>
              <a:cxn ang="0">
                <a:pos x="160" y="272"/>
              </a:cxn>
              <a:cxn ang="0">
                <a:pos x="155" y="264"/>
              </a:cxn>
              <a:cxn ang="0">
                <a:pos x="142" y="259"/>
              </a:cxn>
              <a:cxn ang="0">
                <a:pos x="133" y="251"/>
              </a:cxn>
              <a:cxn ang="0">
                <a:pos x="127" y="229"/>
              </a:cxn>
              <a:cxn ang="0">
                <a:pos x="124" y="195"/>
              </a:cxn>
              <a:cxn ang="0">
                <a:pos x="115" y="161"/>
              </a:cxn>
              <a:cxn ang="0">
                <a:pos x="100" y="134"/>
              </a:cxn>
              <a:cxn ang="0">
                <a:pos x="68" y="90"/>
              </a:cxn>
              <a:cxn ang="0">
                <a:pos x="86" y="60"/>
              </a:cxn>
              <a:cxn ang="0">
                <a:pos x="106" y="56"/>
              </a:cxn>
              <a:cxn ang="0">
                <a:pos x="130" y="58"/>
              </a:cxn>
              <a:cxn ang="0">
                <a:pos x="139" y="61"/>
              </a:cxn>
              <a:cxn ang="0">
                <a:pos x="160" y="56"/>
              </a:cxn>
              <a:cxn ang="0">
                <a:pos x="164" y="33"/>
              </a:cxn>
              <a:cxn ang="0">
                <a:pos x="171" y="13"/>
              </a:cxn>
              <a:cxn ang="0">
                <a:pos x="187" y="0"/>
              </a:cxn>
              <a:cxn ang="0">
                <a:pos x="225" y="0"/>
              </a:cxn>
              <a:cxn ang="0">
                <a:pos x="254" y="8"/>
              </a:cxn>
              <a:cxn ang="0">
                <a:pos x="280" y="21"/>
              </a:cxn>
              <a:cxn ang="0">
                <a:pos x="279" y="62"/>
              </a:cxn>
              <a:cxn ang="0">
                <a:pos x="292" y="77"/>
              </a:cxn>
              <a:cxn ang="0">
                <a:pos x="319" y="94"/>
              </a:cxn>
              <a:cxn ang="0">
                <a:pos x="356" y="119"/>
              </a:cxn>
              <a:cxn ang="0">
                <a:pos x="346" y="135"/>
              </a:cxn>
              <a:cxn ang="0">
                <a:pos x="340" y="153"/>
              </a:cxn>
              <a:cxn ang="0">
                <a:pos x="344" y="176"/>
              </a:cxn>
              <a:cxn ang="0">
                <a:pos x="363" y="200"/>
              </a:cxn>
              <a:cxn ang="0">
                <a:pos x="378" y="210"/>
              </a:cxn>
              <a:cxn ang="0">
                <a:pos x="386" y="256"/>
              </a:cxn>
              <a:cxn ang="0">
                <a:pos x="404" y="289"/>
              </a:cxn>
              <a:cxn ang="0">
                <a:pos x="432" y="315"/>
              </a:cxn>
              <a:cxn ang="0">
                <a:pos x="463" y="335"/>
              </a:cxn>
              <a:cxn ang="0">
                <a:pos x="466" y="390"/>
              </a:cxn>
              <a:cxn ang="0">
                <a:pos x="397" y="457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/>
            <a:ahLst/>
            <a:cxnLst>
              <a:cxn ang="0">
                <a:pos x="426" y="190"/>
              </a:cxn>
              <a:cxn ang="0">
                <a:pos x="408" y="128"/>
              </a:cxn>
              <a:cxn ang="0">
                <a:pos x="387" y="85"/>
              </a:cxn>
              <a:cxn ang="0">
                <a:pos x="367" y="62"/>
              </a:cxn>
              <a:cxn ang="0">
                <a:pos x="356" y="58"/>
              </a:cxn>
              <a:cxn ang="0">
                <a:pos x="335" y="45"/>
              </a:cxn>
              <a:cxn ang="0">
                <a:pos x="314" y="38"/>
              </a:cxn>
              <a:cxn ang="0">
                <a:pos x="293" y="38"/>
              </a:cxn>
              <a:cxn ang="0">
                <a:pos x="276" y="42"/>
              </a:cxn>
              <a:cxn ang="0">
                <a:pos x="251" y="58"/>
              </a:cxn>
              <a:cxn ang="0">
                <a:pos x="235" y="67"/>
              </a:cxn>
              <a:cxn ang="0">
                <a:pos x="217" y="66"/>
              </a:cxn>
              <a:cxn ang="0">
                <a:pos x="174" y="37"/>
              </a:cxn>
              <a:cxn ang="0">
                <a:pos x="113" y="0"/>
              </a:cxn>
              <a:cxn ang="0">
                <a:pos x="95" y="23"/>
              </a:cxn>
              <a:cxn ang="0">
                <a:pos x="93" y="43"/>
              </a:cxn>
              <a:cxn ang="0">
                <a:pos x="98" y="52"/>
              </a:cxn>
              <a:cxn ang="0">
                <a:pos x="119" y="69"/>
              </a:cxn>
              <a:cxn ang="0">
                <a:pos x="99" y="73"/>
              </a:cxn>
              <a:cxn ang="0">
                <a:pos x="66" y="93"/>
              </a:cxn>
              <a:cxn ang="0">
                <a:pos x="58" y="119"/>
              </a:cxn>
              <a:cxn ang="0">
                <a:pos x="45" y="138"/>
              </a:cxn>
              <a:cxn ang="0">
                <a:pos x="35" y="156"/>
              </a:cxn>
              <a:cxn ang="0">
                <a:pos x="33" y="179"/>
              </a:cxn>
              <a:cxn ang="0">
                <a:pos x="7" y="238"/>
              </a:cxn>
              <a:cxn ang="0">
                <a:pos x="15" y="246"/>
              </a:cxn>
              <a:cxn ang="0">
                <a:pos x="26" y="247"/>
              </a:cxn>
              <a:cxn ang="0">
                <a:pos x="33" y="346"/>
              </a:cxn>
              <a:cxn ang="0">
                <a:pos x="93" y="353"/>
              </a:cxn>
              <a:cxn ang="0">
                <a:pos x="104" y="376"/>
              </a:cxn>
              <a:cxn ang="0">
                <a:pos x="89" y="425"/>
              </a:cxn>
              <a:cxn ang="0">
                <a:pos x="109" y="447"/>
              </a:cxn>
              <a:cxn ang="0">
                <a:pos x="152" y="447"/>
              </a:cxn>
              <a:cxn ang="0">
                <a:pos x="205" y="444"/>
              </a:cxn>
              <a:cxn ang="0">
                <a:pos x="276" y="446"/>
              </a:cxn>
              <a:cxn ang="0">
                <a:pos x="343" y="442"/>
              </a:cxn>
              <a:cxn ang="0">
                <a:pos x="372" y="432"/>
              </a:cxn>
              <a:cxn ang="0">
                <a:pos x="359" y="413"/>
              </a:cxn>
              <a:cxn ang="0">
                <a:pos x="369" y="403"/>
              </a:cxn>
              <a:cxn ang="0">
                <a:pos x="372" y="382"/>
              </a:cxn>
              <a:cxn ang="0">
                <a:pos x="380" y="367"/>
              </a:cxn>
              <a:cxn ang="0">
                <a:pos x="343" y="344"/>
              </a:cxn>
              <a:cxn ang="0">
                <a:pos x="325" y="323"/>
              </a:cxn>
              <a:cxn ang="0">
                <a:pos x="311" y="294"/>
              </a:cxn>
              <a:cxn ang="0">
                <a:pos x="294" y="277"/>
              </a:cxn>
              <a:cxn ang="0">
                <a:pos x="314" y="275"/>
              </a:cxn>
              <a:cxn ang="0">
                <a:pos x="346" y="271"/>
              </a:cxn>
              <a:cxn ang="0">
                <a:pos x="369" y="260"/>
              </a:cxn>
              <a:cxn ang="0">
                <a:pos x="407" y="240"/>
              </a:cxn>
              <a:cxn ang="0">
                <a:pos x="438" y="235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/>
            <a:ahLst/>
            <a:cxnLst>
              <a:cxn ang="0">
                <a:pos x="327" y="88"/>
              </a:cxn>
              <a:cxn ang="0">
                <a:pos x="312" y="85"/>
              </a:cxn>
              <a:cxn ang="0">
                <a:pos x="301" y="79"/>
              </a:cxn>
              <a:cxn ang="0">
                <a:pos x="275" y="66"/>
              </a:cxn>
              <a:cxn ang="0">
                <a:pos x="251" y="78"/>
              </a:cxn>
              <a:cxn ang="0">
                <a:pos x="246" y="105"/>
              </a:cxn>
              <a:cxn ang="0">
                <a:pos x="253" y="153"/>
              </a:cxn>
              <a:cxn ang="0">
                <a:pos x="270" y="172"/>
              </a:cxn>
              <a:cxn ang="0">
                <a:pos x="287" y="178"/>
              </a:cxn>
              <a:cxn ang="0">
                <a:pos x="298" y="191"/>
              </a:cxn>
              <a:cxn ang="0">
                <a:pos x="351" y="225"/>
              </a:cxn>
              <a:cxn ang="0">
                <a:pos x="449" y="309"/>
              </a:cxn>
              <a:cxn ang="0">
                <a:pos x="477" y="322"/>
              </a:cxn>
              <a:cxn ang="0">
                <a:pos x="504" y="328"/>
              </a:cxn>
              <a:cxn ang="0">
                <a:pos x="536" y="356"/>
              </a:cxn>
              <a:cxn ang="0">
                <a:pos x="578" y="376"/>
              </a:cxn>
              <a:cxn ang="0">
                <a:pos x="565" y="407"/>
              </a:cxn>
              <a:cxn ang="0">
                <a:pos x="526" y="383"/>
              </a:cxn>
              <a:cxn ang="0">
                <a:pos x="508" y="376"/>
              </a:cxn>
              <a:cxn ang="0">
                <a:pos x="498" y="397"/>
              </a:cxn>
              <a:cxn ang="0">
                <a:pos x="506" y="426"/>
              </a:cxn>
              <a:cxn ang="0">
                <a:pos x="514" y="442"/>
              </a:cxn>
              <a:cxn ang="0">
                <a:pos x="500" y="468"/>
              </a:cxn>
              <a:cxn ang="0">
                <a:pos x="483" y="505"/>
              </a:cxn>
              <a:cxn ang="0">
                <a:pos x="465" y="522"/>
              </a:cxn>
              <a:cxn ang="0">
                <a:pos x="436" y="505"/>
              </a:cxn>
              <a:cxn ang="0">
                <a:pos x="456" y="484"/>
              </a:cxn>
              <a:cxn ang="0">
                <a:pos x="465" y="467"/>
              </a:cxn>
              <a:cxn ang="0">
                <a:pos x="461" y="441"/>
              </a:cxn>
              <a:cxn ang="0">
                <a:pos x="427" y="395"/>
              </a:cxn>
              <a:cxn ang="0">
                <a:pos x="385" y="369"/>
              </a:cxn>
              <a:cxn ang="0">
                <a:pos x="355" y="356"/>
              </a:cxn>
              <a:cxn ang="0">
                <a:pos x="318" y="330"/>
              </a:cxn>
              <a:cxn ang="0">
                <a:pos x="268" y="315"/>
              </a:cxn>
              <a:cxn ang="0">
                <a:pos x="218" y="285"/>
              </a:cxn>
              <a:cxn ang="0">
                <a:pos x="162" y="229"/>
              </a:cxn>
              <a:cxn ang="0">
                <a:pos x="126" y="168"/>
              </a:cxn>
              <a:cxn ang="0">
                <a:pos x="77" y="154"/>
              </a:cxn>
              <a:cxn ang="0">
                <a:pos x="51" y="157"/>
              </a:cxn>
              <a:cxn ang="0">
                <a:pos x="15" y="165"/>
              </a:cxn>
              <a:cxn ang="0">
                <a:pos x="3" y="133"/>
              </a:cxn>
              <a:cxn ang="0">
                <a:pos x="1" y="93"/>
              </a:cxn>
              <a:cxn ang="0">
                <a:pos x="6" y="49"/>
              </a:cxn>
              <a:cxn ang="0">
                <a:pos x="45" y="41"/>
              </a:cxn>
              <a:cxn ang="0">
                <a:pos x="68" y="33"/>
              </a:cxn>
              <a:cxn ang="0">
                <a:pos x="83" y="48"/>
              </a:cxn>
              <a:cxn ang="0">
                <a:pos x="104" y="44"/>
              </a:cxn>
              <a:cxn ang="0">
                <a:pos x="149" y="16"/>
              </a:cxn>
              <a:cxn ang="0">
                <a:pos x="239" y="0"/>
              </a:cxn>
              <a:cxn ang="0">
                <a:pos x="257" y="13"/>
              </a:cxn>
              <a:cxn ang="0">
                <a:pos x="332" y="19"/>
              </a:cxn>
              <a:cxn ang="0">
                <a:pos x="322" y="65"/>
              </a:cxn>
              <a:cxn ang="0">
                <a:pos x="325" y="90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7"/>
              </a:cxn>
              <a:cxn ang="0">
                <a:pos x="11" y="36"/>
              </a:cxn>
              <a:cxn ang="0">
                <a:pos x="16" y="35"/>
              </a:cxn>
              <a:cxn ang="0">
                <a:pos x="19" y="33"/>
              </a:cxn>
              <a:cxn ang="0">
                <a:pos x="26" y="28"/>
              </a:cxn>
              <a:cxn ang="0">
                <a:pos x="31" y="22"/>
              </a:cxn>
              <a:cxn ang="0">
                <a:pos x="37" y="16"/>
              </a:cxn>
              <a:cxn ang="0">
                <a:pos x="41" y="10"/>
              </a:cxn>
              <a:cxn ang="0">
                <a:pos x="46" y="5"/>
              </a:cxn>
              <a:cxn ang="0">
                <a:pos x="53" y="0"/>
              </a:cxn>
              <a:cxn ang="0">
                <a:pos x="57" y="3"/>
              </a:cxn>
              <a:cxn ang="0">
                <a:pos x="62" y="7"/>
              </a:cxn>
              <a:cxn ang="0">
                <a:pos x="64" y="10"/>
              </a:cxn>
              <a:cxn ang="0">
                <a:pos x="66" y="14"/>
              </a:cxn>
              <a:cxn ang="0">
                <a:pos x="69" y="22"/>
              </a:cxn>
              <a:cxn ang="0">
                <a:pos x="72" y="32"/>
              </a:cxn>
              <a:cxn ang="0">
                <a:pos x="73" y="40"/>
              </a:cxn>
              <a:cxn ang="0">
                <a:pos x="74" y="49"/>
              </a:cxn>
              <a:cxn ang="0">
                <a:pos x="76" y="58"/>
              </a:cxn>
              <a:cxn ang="0">
                <a:pos x="79" y="67"/>
              </a:cxn>
              <a:cxn ang="0">
                <a:pos x="79" y="98"/>
              </a:cxn>
              <a:cxn ang="0">
                <a:pos x="68" y="115"/>
              </a:cxn>
              <a:cxn ang="0">
                <a:pos x="59" y="129"/>
              </a:cxn>
              <a:cxn ang="0">
                <a:pos x="53" y="136"/>
              </a:cxn>
              <a:cxn ang="0">
                <a:pos x="50" y="144"/>
              </a:cxn>
              <a:cxn ang="0">
                <a:pos x="48" y="151"/>
              </a:cxn>
              <a:cxn ang="0">
                <a:pos x="46" y="160"/>
              </a:cxn>
              <a:cxn ang="0">
                <a:pos x="40" y="155"/>
              </a:cxn>
              <a:cxn ang="0">
                <a:pos x="33" y="150"/>
              </a:cxn>
              <a:cxn ang="0">
                <a:pos x="28" y="144"/>
              </a:cxn>
              <a:cxn ang="0">
                <a:pos x="22" y="137"/>
              </a:cxn>
              <a:cxn ang="0">
                <a:pos x="18" y="130"/>
              </a:cxn>
              <a:cxn ang="0">
                <a:pos x="15" y="123"/>
              </a:cxn>
              <a:cxn ang="0">
                <a:pos x="11" y="115"/>
              </a:cxn>
              <a:cxn ang="0">
                <a:pos x="8" y="108"/>
              </a:cxn>
              <a:cxn ang="0">
                <a:pos x="4" y="91"/>
              </a:cxn>
              <a:cxn ang="0">
                <a:pos x="1" y="73"/>
              </a:cxn>
              <a:cxn ang="0">
                <a:pos x="0" y="55"/>
              </a:cxn>
              <a:cxn ang="0">
                <a:pos x="0" y="37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2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/>
              <a:ahLst/>
              <a:cxnLst>
                <a:cxn ang="0">
                  <a:pos x="424" y="198"/>
                </a:cxn>
                <a:cxn ang="0">
                  <a:pos x="387" y="193"/>
                </a:cxn>
                <a:cxn ang="0">
                  <a:pos x="367" y="203"/>
                </a:cxn>
                <a:cxn ang="0">
                  <a:pos x="354" y="217"/>
                </a:cxn>
                <a:cxn ang="0">
                  <a:pos x="347" y="254"/>
                </a:cxn>
                <a:cxn ang="0">
                  <a:pos x="327" y="306"/>
                </a:cxn>
                <a:cxn ang="0">
                  <a:pos x="305" y="335"/>
                </a:cxn>
                <a:cxn ang="0">
                  <a:pos x="289" y="350"/>
                </a:cxn>
                <a:cxn ang="0">
                  <a:pos x="271" y="359"/>
                </a:cxn>
                <a:cxn ang="0">
                  <a:pos x="256" y="368"/>
                </a:cxn>
                <a:cxn ang="0">
                  <a:pos x="253" y="376"/>
                </a:cxn>
                <a:cxn ang="0">
                  <a:pos x="215" y="370"/>
                </a:cxn>
                <a:cxn ang="0">
                  <a:pos x="183" y="367"/>
                </a:cxn>
                <a:cxn ang="0">
                  <a:pos x="155" y="373"/>
                </a:cxn>
                <a:cxn ang="0">
                  <a:pos x="138" y="388"/>
                </a:cxn>
                <a:cxn ang="0">
                  <a:pos x="97" y="405"/>
                </a:cxn>
                <a:cxn ang="0">
                  <a:pos x="62" y="407"/>
                </a:cxn>
                <a:cxn ang="0">
                  <a:pos x="45" y="400"/>
                </a:cxn>
                <a:cxn ang="0">
                  <a:pos x="15" y="368"/>
                </a:cxn>
                <a:cxn ang="0">
                  <a:pos x="2" y="344"/>
                </a:cxn>
                <a:cxn ang="0">
                  <a:pos x="8" y="335"/>
                </a:cxn>
                <a:cxn ang="0">
                  <a:pos x="34" y="344"/>
                </a:cxn>
                <a:cxn ang="0">
                  <a:pos x="53" y="336"/>
                </a:cxn>
                <a:cxn ang="0">
                  <a:pos x="56" y="314"/>
                </a:cxn>
                <a:cxn ang="0">
                  <a:pos x="71" y="300"/>
                </a:cxn>
                <a:cxn ang="0">
                  <a:pos x="82" y="286"/>
                </a:cxn>
                <a:cxn ang="0">
                  <a:pos x="89" y="272"/>
                </a:cxn>
                <a:cxn ang="0">
                  <a:pos x="101" y="262"/>
                </a:cxn>
                <a:cxn ang="0">
                  <a:pos x="137" y="246"/>
                </a:cxn>
                <a:cxn ang="0">
                  <a:pos x="175" y="232"/>
                </a:cxn>
                <a:cxn ang="0">
                  <a:pos x="202" y="217"/>
                </a:cxn>
                <a:cxn ang="0">
                  <a:pos x="213" y="205"/>
                </a:cxn>
                <a:cxn ang="0">
                  <a:pos x="219" y="191"/>
                </a:cxn>
                <a:cxn ang="0">
                  <a:pos x="227" y="161"/>
                </a:cxn>
                <a:cxn ang="0">
                  <a:pos x="229" y="149"/>
                </a:cxn>
                <a:cxn ang="0">
                  <a:pos x="231" y="152"/>
                </a:cxn>
                <a:cxn ang="0">
                  <a:pos x="239" y="143"/>
                </a:cxn>
                <a:cxn ang="0">
                  <a:pos x="237" y="155"/>
                </a:cxn>
                <a:cxn ang="0">
                  <a:pos x="240" y="174"/>
                </a:cxn>
                <a:cxn ang="0">
                  <a:pos x="251" y="193"/>
                </a:cxn>
                <a:cxn ang="0">
                  <a:pos x="272" y="205"/>
                </a:cxn>
                <a:cxn ang="0">
                  <a:pos x="306" y="204"/>
                </a:cxn>
                <a:cxn ang="0">
                  <a:pos x="320" y="205"/>
                </a:cxn>
                <a:cxn ang="0">
                  <a:pos x="327" y="198"/>
                </a:cxn>
                <a:cxn ang="0">
                  <a:pos x="324" y="176"/>
                </a:cxn>
                <a:cxn ang="0">
                  <a:pos x="299" y="130"/>
                </a:cxn>
                <a:cxn ang="0">
                  <a:pos x="319" y="109"/>
                </a:cxn>
                <a:cxn ang="0">
                  <a:pos x="344" y="66"/>
                </a:cxn>
                <a:cxn ang="0">
                  <a:pos x="374" y="22"/>
                </a:cxn>
                <a:cxn ang="0">
                  <a:pos x="399" y="0"/>
                </a:cxn>
                <a:cxn ang="0">
                  <a:pos x="401" y="23"/>
                </a:cxn>
                <a:cxn ang="0">
                  <a:pos x="413" y="50"/>
                </a:cxn>
                <a:cxn ang="0">
                  <a:pos x="439" y="75"/>
                </a:cxn>
                <a:cxn ang="0">
                  <a:pos x="486" y="106"/>
                </a:cxn>
                <a:cxn ang="0">
                  <a:pos x="508" y="132"/>
                </a:cxn>
                <a:cxn ang="0">
                  <a:pos x="499" y="149"/>
                </a:cxn>
                <a:cxn ang="0">
                  <a:pos x="478" y="152"/>
                </a:cxn>
                <a:cxn ang="0">
                  <a:pos x="458" y="180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/>
              <a:ahLst/>
              <a:cxnLst>
                <a:cxn ang="0">
                  <a:pos x="151" y="24"/>
                </a:cxn>
                <a:cxn ang="0">
                  <a:pos x="165" y="48"/>
                </a:cxn>
                <a:cxn ang="0">
                  <a:pos x="174" y="56"/>
                </a:cxn>
                <a:cxn ang="0">
                  <a:pos x="181" y="60"/>
                </a:cxn>
                <a:cxn ang="0">
                  <a:pos x="186" y="166"/>
                </a:cxn>
                <a:cxn ang="0">
                  <a:pos x="189" y="196"/>
                </a:cxn>
                <a:cxn ang="0">
                  <a:pos x="193" y="207"/>
                </a:cxn>
                <a:cxn ang="0">
                  <a:pos x="199" y="216"/>
                </a:cxn>
                <a:cxn ang="0">
                  <a:pos x="232" y="246"/>
                </a:cxn>
                <a:cxn ang="0">
                  <a:pos x="219" y="288"/>
                </a:cxn>
                <a:cxn ang="0">
                  <a:pos x="186" y="282"/>
                </a:cxn>
                <a:cxn ang="0">
                  <a:pos x="151" y="264"/>
                </a:cxn>
                <a:cxn ang="0">
                  <a:pos x="113" y="235"/>
                </a:cxn>
                <a:cxn ang="0">
                  <a:pos x="81" y="207"/>
                </a:cxn>
                <a:cxn ang="0">
                  <a:pos x="56" y="176"/>
                </a:cxn>
                <a:cxn ang="0">
                  <a:pos x="31" y="145"/>
                </a:cxn>
                <a:cxn ang="0">
                  <a:pos x="9" y="126"/>
                </a:cxn>
                <a:cxn ang="0">
                  <a:pos x="2" y="117"/>
                </a:cxn>
                <a:cxn ang="0">
                  <a:pos x="0" y="109"/>
                </a:cxn>
                <a:cxn ang="0">
                  <a:pos x="0" y="100"/>
                </a:cxn>
                <a:cxn ang="0">
                  <a:pos x="3" y="92"/>
                </a:cxn>
                <a:cxn ang="0">
                  <a:pos x="11" y="79"/>
                </a:cxn>
                <a:cxn ang="0">
                  <a:pos x="12" y="52"/>
                </a:cxn>
                <a:cxn ang="0">
                  <a:pos x="7" y="15"/>
                </a:cxn>
                <a:cxn ang="0">
                  <a:pos x="13" y="0"/>
                </a:cxn>
                <a:cxn ang="0">
                  <a:pos x="26" y="3"/>
                </a:cxn>
                <a:cxn ang="0">
                  <a:pos x="42" y="10"/>
                </a:cxn>
                <a:cxn ang="0">
                  <a:pos x="59" y="21"/>
                </a:cxn>
                <a:cxn ang="0">
                  <a:pos x="73" y="28"/>
                </a:cxn>
                <a:cxn ang="0">
                  <a:pos x="81" y="31"/>
                </a:cxn>
                <a:cxn ang="0">
                  <a:pos x="91" y="31"/>
                </a:cxn>
                <a:cxn ang="0">
                  <a:pos x="105" y="26"/>
                </a:cxn>
                <a:cxn ang="0">
                  <a:pos x="120" y="19"/>
                </a:cxn>
                <a:cxn ang="0">
                  <a:pos x="133" y="11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/>
            <a:ahLst/>
            <a:cxnLst>
              <a:cxn ang="0">
                <a:pos x="725" y="1733"/>
              </a:cxn>
              <a:cxn ang="0">
                <a:pos x="1070" y="1937"/>
              </a:cxn>
              <a:cxn ang="0">
                <a:pos x="1212" y="1814"/>
              </a:cxn>
              <a:cxn ang="0">
                <a:pos x="1674" y="1469"/>
              </a:cxn>
              <a:cxn ang="0">
                <a:pos x="2618" y="1315"/>
              </a:cxn>
              <a:cxn ang="0">
                <a:pos x="3350" y="1494"/>
              </a:cxn>
              <a:cxn ang="0">
                <a:pos x="3676" y="1438"/>
              </a:cxn>
              <a:cxn ang="0">
                <a:pos x="4136" y="1492"/>
              </a:cxn>
              <a:cxn ang="0">
                <a:pos x="4577" y="1509"/>
              </a:cxn>
              <a:cxn ang="0">
                <a:pos x="4759" y="1372"/>
              </a:cxn>
              <a:cxn ang="0">
                <a:pos x="5156" y="1476"/>
              </a:cxn>
              <a:cxn ang="0">
                <a:pos x="5614" y="1598"/>
              </a:cxn>
              <a:cxn ang="0">
                <a:pos x="5604" y="1844"/>
              </a:cxn>
              <a:cxn ang="0">
                <a:pos x="5853" y="1612"/>
              </a:cxn>
              <a:cxn ang="0">
                <a:pos x="5570" y="1256"/>
              </a:cxn>
              <a:cxn ang="0">
                <a:pos x="5331" y="1147"/>
              </a:cxn>
              <a:cxn ang="0">
                <a:pos x="5857" y="982"/>
              </a:cxn>
              <a:cxn ang="0">
                <a:pos x="5974" y="822"/>
              </a:cxn>
              <a:cxn ang="0">
                <a:pos x="6132" y="761"/>
              </a:cxn>
              <a:cxn ang="0">
                <a:pos x="6195" y="974"/>
              </a:cxn>
              <a:cxn ang="0">
                <a:pos x="6352" y="1251"/>
              </a:cxn>
              <a:cxn ang="0">
                <a:pos x="6575" y="1410"/>
              </a:cxn>
              <a:cxn ang="0">
                <a:pos x="6566" y="1214"/>
              </a:cxn>
              <a:cxn ang="0">
                <a:pos x="6373" y="1037"/>
              </a:cxn>
              <a:cxn ang="0">
                <a:pos x="6547" y="885"/>
              </a:cxn>
              <a:cxn ang="0">
                <a:pos x="6801" y="784"/>
              </a:cxn>
              <a:cxn ang="0">
                <a:pos x="6628" y="618"/>
              </a:cxn>
              <a:cxn ang="0">
                <a:pos x="6799" y="636"/>
              </a:cxn>
              <a:cxn ang="0">
                <a:pos x="6861" y="543"/>
              </a:cxn>
              <a:cxn ang="0">
                <a:pos x="6500" y="462"/>
              </a:cxn>
              <a:cxn ang="0">
                <a:pos x="5843" y="410"/>
              </a:cxn>
              <a:cxn ang="0">
                <a:pos x="5693" y="415"/>
              </a:cxn>
              <a:cxn ang="0">
                <a:pos x="4991" y="351"/>
              </a:cxn>
              <a:cxn ang="0">
                <a:pos x="4728" y="290"/>
              </a:cxn>
              <a:cxn ang="0">
                <a:pos x="4412" y="290"/>
              </a:cxn>
              <a:cxn ang="0">
                <a:pos x="4009" y="318"/>
              </a:cxn>
              <a:cxn ang="0">
                <a:pos x="3574" y="261"/>
              </a:cxn>
              <a:cxn ang="0">
                <a:pos x="3290" y="244"/>
              </a:cxn>
              <a:cxn ang="0">
                <a:pos x="3008" y="235"/>
              </a:cxn>
              <a:cxn ang="0">
                <a:pos x="2724" y="58"/>
              </a:cxn>
              <a:cxn ang="0">
                <a:pos x="2617" y="140"/>
              </a:cxn>
              <a:cxn ang="0">
                <a:pos x="2134" y="167"/>
              </a:cxn>
              <a:cxn ang="0">
                <a:pos x="2159" y="200"/>
              </a:cxn>
              <a:cxn ang="0">
                <a:pos x="2198" y="342"/>
              </a:cxn>
              <a:cxn ang="0">
                <a:pos x="1933" y="256"/>
              </a:cxn>
              <a:cxn ang="0">
                <a:pos x="1787" y="273"/>
              </a:cxn>
              <a:cxn ang="0">
                <a:pos x="1917" y="446"/>
              </a:cxn>
              <a:cxn ang="0">
                <a:pos x="2076" y="529"/>
              </a:cxn>
              <a:cxn ang="0">
                <a:pos x="1883" y="593"/>
              </a:cxn>
              <a:cxn ang="0">
                <a:pos x="1832" y="464"/>
              </a:cxn>
              <a:cxn ang="0">
                <a:pos x="1621" y="231"/>
              </a:cxn>
              <a:cxn ang="0">
                <a:pos x="1623" y="451"/>
              </a:cxn>
              <a:cxn ang="0">
                <a:pos x="1238" y="397"/>
              </a:cxn>
              <a:cxn ang="0">
                <a:pos x="1198" y="477"/>
              </a:cxn>
              <a:cxn ang="0">
                <a:pos x="908" y="500"/>
              </a:cxn>
              <a:cxn ang="0">
                <a:pos x="692" y="483"/>
              </a:cxn>
              <a:cxn ang="0">
                <a:pos x="602" y="585"/>
              </a:cxn>
              <a:cxn ang="0">
                <a:pos x="407" y="739"/>
              </a:cxn>
              <a:cxn ang="0">
                <a:pos x="390" y="612"/>
              </a:cxn>
              <a:cxn ang="0">
                <a:pos x="150" y="440"/>
              </a:cxn>
              <a:cxn ang="0">
                <a:pos x="71" y="605"/>
              </a:cxn>
              <a:cxn ang="0">
                <a:pos x="112" y="958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/>
            <a:ahLst/>
            <a:cxnLst>
              <a:cxn ang="0">
                <a:pos x="406" y="27"/>
              </a:cxn>
              <a:cxn ang="0">
                <a:pos x="428" y="45"/>
              </a:cxn>
              <a:cxn ang="0">
                <a:pos x="458" y="60"/>
              </a:cxn>
              <a:cxn ang="0">
                <a:pos x="512" y="78"/>
              </a:cxn>
              <a:cxn ang="0">
                <a:pos x="538" y="81"/>
              </a:cxn>
              <a:cxn ang="0">
                <a:pos x="562" y="99"/>
              </a:cxn>
              <a:cxn ang="0">
                <a:pos x="567" y="97"/>
              </a:cxn>
              <a:cxn ang="0">
                <a:pos x="575" y="85"/>
              </a:cxn>
              <a:cxn ang="0">
                <a:pos x="583" y="78"/>
              </a:cxn>
              <a:cxn ang="0">
                <a:pos x="603" y="80"/>
              </a:cxn>
              <a:cxn ang="0">
                <a:pos x="624" y="79"/>
              </a:cxn>
              <a:cxn ang="0">
                <a:pos x="640" y="84"/>
              </a:cxn>
              <a:cxn ang="0">
                <a:pos x="646" y="103"/>
              </a:cxn>
              <a:cxn ang="0">
                <a:pos x="646" y="123"/>
              </a:cxn>
              <a:cxn ang="0">
                <a:pos x="618" y="131"/>
              </a:cxn>
              <a:cxn ang="0">
                <a:pos x="586" y="146"/>
              </a:cxn>
              <a:cxn ang="0">
                <a:pos x="560" y="165"/>
              </a:cxn>
              <a:cxn ang="0">
                <a:pos x="504" y="214"/>
              </a:cxn>
              <a:cxn ang="0">
                <a:pos x="489" y="227"/>
              </a:cxn>
              <a:cxn ang="0">
                <a:pos x="474" y="254"/>
              </a:cxn>
              <a:cxn ang="0">
                <a:pos x="473" y="282"/>
              </a:cxn>
              <a:cxn ang="0">
                <a:pos x="473" y="311"/>
              </a:cxn>
              <a:cxn ang="0">
                <a:pos x="463" y="340"/>
              </a:cxn>
              <a:cxn ang="0">
                <a:pos x="450" y="354"/>
              </a:cxn>
              <a:cxn ang="0">
                <a:pos x="411" y="384"/>
              </a:cxn>
              <a:cxn ang="0">
                <a:pos x="383" y="411"/>
              </a:cxn>
              <a:cxn ang="0">
                <a:pos x="374" y="425"/>
              </a:cxn>
              <a:cxn ang="0">
                <a:pos x="369" y="432"/>
              </a:cxn>
              <a:cxn ang="0">
                <a:pos x="310" y="429"/>
              </a:cxn>
              <a:cxn ang="0">
                <a:pos x="257" y="434"/>
              </a:cxn>
              <a:cxn ang="0">
                <a:pos x="224" y="446"/>
              </a:cxn>
              <a:cxn ang="0">
                <a:pos x="193" y="467"/>
              </a:cxn>
              <a:cxn ang="0">
                <a:pos x="179" y="469"/>
              </a:cxn>
              <a:cxn ang="0">
                <a:pos x="169" y="461"/>
              </a:cxn>
              <a:cxn ang="0">
                <a:pos x="153" y="432"/>
              </a:cxn>
              <a:cxn ang="0">
                <a:pos x="140" y="414"/>
              </a:cxn>
              <a:cxn ang="0">
                <a:pos x="122" y="400"/>
              </a:cxn>
              <a:cxn ang="0">
                <a:pos x="114" y="379"/>
              </a:cxn>
              <a:cxn ang="0">
                <a:pos x="126" y="336"/>
              </a:cxn>
              <a:cxn ang="0">
                <a:pos x="127" y="267"/>
              </a:cxn>
              <a:cxn ang="0">
                <a:pos x="147" y="206"/>
              </a:cxn>
              <a:cxn ang="0">
                <a:pos x="168" y="149"/>
              </a:cxn>
              <a:cxn ang="0">
                <a:pos x="172" y="131"/>
              </a:cxn>
              <a:cxn ang="0">
                <a:pos x="116" y="123"/>
              </a:cxn>
              <a:cxn ang="0">
                <a:pos x="62" y="109"/>
              </a:cxn>
              <a:cxn ang="0">
                <a:pos x="17" y="93"/>
              </a:cxn>
              <a:cxn ang="0">
                <a:pos x="0" y="38"/>
              </a:cxn>
              <a:cxn ang="0">
                <a:pos x="23" y="34"/>
              </a:cxn>
              <a:cxn ang="0">
                <a:pos x="51" y="20"/>
              </a:cxn>
              <a:cxn ang="0">
                <a:pos x="73" y="4"/>
              </a:cxn>
              <a:cxn ang="0">
                <a:pos x="86" y="0"/>
              </a:cxn>
              <a:cxn ang="0">
                <a:pos x="132" y="7"/>
              </a:cxn>
              <a:cxn ang="0">
                <a:pos x="171" y="17"/>
              </a:cxn>
              <a:cxn ang="0">
                <a:pos x="209" y="20"/>
              </a:cxn>
              <a:cxn ang="0">
                <a:pos x="235" y="29"/>
              </a:cxn>
              <a:cxn ang="0">
                <a:pos x="258" y="37"/>
              </a:cxn>
              <a:cxn ang="0">
                <a:pos x="385" y="26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/>
            <a:ahLst/>
            <a:cxnLst>
              <a:cxn ang="0">
                <a:pos x="379" y="357"/>
              </a:cxn>
              <a:cxn ang="0">
                <a:pos x="333" y="370"/>
              </a:cxn>
              <a:cxn ang="0">
                <a:pos x="314" y="390"/>
              </a:cxn>
              <a:cxn ang="0">
                <a:pos x="316" y="428"/>
              </a:cxn>
              <a:cxn ang="0">
                <a:pos x="352" y="492"/>
              </a:cxn>
              <a:cxn ang="0">
                <a:pos x="359" y="530"/>
              </a:cxn>
              <a:cxn ang="0">
                <a:pos x="366" y="555"/>
              </a:cxn>
              <a:cxn ang="0">
                <a:pos x="323" y="526"/>
              </a:cxn>
              <a:cxn ang="0">
                <a:pos x="309" y="492"/>
              </a:cxn>
              <a:cxn ang="0">
                <a:pos x="269" y="467"/>
              </a:cxn>
              <a:cxn ang="0">
                <a:pos x="210" y="439"/>
              </a:cxn>
              <a:cxn ang="0">
                <a:pos x="193" y="406"/>
              </a:cxn>
              <a:cxn ang="0">
                <a:pos x="156" y="477"/>
              </a:cxn>
              <a:cxn ang="0">
                <a:pos x="156" y="524"/>
              </a:cxn>
              <a:cxn ang="0">
                <a:pos x="132" y="575"/>
              </a:cxn>
              <a:cxn ang="0">
                <a:pos x="128" y="621"/>
              </a:cxn>
              <a:cxn ang="0">
                <a:pos x="154" y="650"/>
              </a:cxn>
              <a:cxn ang="0">
                <a:pos x="175" y="685"/>
              </a:cxn>
              <a:cxn ang="0">
                <a:pos x="185" y="730"/>
              </a:cxn>
              <a:cxn ang="0">
                <a:pos x="226" y="780"/>
              </a:cxn>
              <a:cxn ang="0">
                <a:pos x="281" y="825"/>
              </a:cxn>
              <a:cxn ang="0">
                <a:pos x="340" y="850"/>
              </a:cxn>
              <a:cxn ang="0">
                <a:pos x="298" y="867"/>
              </a:cxn>
              <a:cxn ang="0">
                <a:pos x="269" y="864"/>
              </a:cxn>
              <a:cxn ang="0">
                <a:pos x="229" y="841"/>
              </a:cxn>
              <a:cxn ang="0">
                <a:pos x="200" y="823"/>
              </a:cxn>
              <a:cxn ang="0">
                <a:pos x="137" y="759"/>
              </a:cxn>
              <a:cxn ang="0">
                <a:pos x="83" y="730"/>
              </a:cxn>
              <a:cxn ang="0">
                <a:pos x="74" y="688"/>
              </a:cxn>
              <a:cxn ang="0">
                <a:pos x="80" y="653"/>
              </a:cxn>
              <a:cxn ang="0">
                <a:pos x="88" y="617"/>
              </a:cxn>
              <a:cxn ang="0">
                <a:pos x="120" y="498"/>
              </a:cxn>
              <a:cxn ang="0">
                <a:pos x="108" y="404"/>
              </a:cxn>
              <a:cxn ang="0">
                <a:pos x="62" y="319"/>
              </a:cxn>
              <a:cxn ang="0">
                <a:pos x="64" y="285"/>
              </a:cxn>
              <a:cxn ang="0">
                <a:pos x="74" y="265"/>
              </a:cxn>
              <a:cxn ang="0">
                <a:pos x="56" y="202"/>
              </a:cxn>
              <a:cxn ang="0">
                <a:pos x="23" y="158"/>
              </a:cxn>
              <a:cxn ang="0">
                <a:pos x="1" y="102"/>
              </a:cxn>
              <a:cxn ang="0">
                <a:pos x="11" y="44"/>
              </a:cxn>
              <a:cxn ang="0">
                <a:pos x="49" y="16"/>
              </a:cxn>
              <a:cxn ang="0">
                <a:pos x="120" y="0"/>
              </a:cxn>
              <a:cxn ang="0">
                <a:pos x="156" y="28"/>
              </a:cxn>
              <a:cxn ang="0">
                <a:pos x="179" y="36"/>
              </a:cxn>
              <a:cxn ang="0">
                <a:pos x="197" y="136"/>
              </a:cxn>
              <a:cxn ang="0">
                <a:pos x="213" y="166"/>
              </a:cxn>
              <a:cxn ang="0">
                <a:pos x="231" y="155"/>
              </a:cxn>
              <a:cxn ang="0">
                <a:pos x="258" y="126"/>
              </a:cxn>
              <a:cxn ang="0">
                <a:pos x="281" y="141"/>
              </a:cxn>
              <a:cxn ang="0">
                <a:pos x="298" y="136"/>
              </a:cxn>
              <a:cxn ang="0">
                <a:pos x="316" y="108"/>
              </a:cxn>
              <a:cxn ang="0">
                <a:pos x="346" y="108"/>
              </a:cxn>
              <a:cxn ang="0">
                <a:pos x="387" y="157"/>
              </a:cxn>
              <a:cxn ang="0">
                <a:pos x="454" y="246"/>
              </a:cxn>
              <a:cxn ang="0">
                <a:pos x="478" y="307"/>
              </a:cxn>
              <a:cxn ang="0">
                <a:pos x="468" y="338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19"/>
              </a:cxn>
              <a:cxn ang="0">
                <a:pos x="1" y="14"/>
              </a:cxn>
              <a:cxn ang="0">
                <a:pos x="3" y="8"/>
              </a:cxn>
              <a:cxn ang="0">
                <a:pos x="6" y="0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30"/>
              </a:cxn>
              <a:cxn ang="0">
                <a:pos x="2" y="36"/>
              </a:cxn>
              <a:cxn ang="0">
                <a:pos x="3" y="42"/>
              </a:cxn>
              <a:cxn ang="0">
                <a:pos x="5" y="47"/>
              </a:cxn>
              <a:cxn ang="0">
                <a:pos x="9" y="58"/>
              </a:cxn>
              <a:cxn ang="0">
                <a:pos x="14" y="67"/>
              </a:cxn>
              <a:cxn ang="0">
                <a:pos x="47" y="67"/>
              </a:cxn>
              <a:cxn ang="0">
                <a:pos x="47" y="0"/>
              </a:cxn>
              <a:cxn ang="0">
                <a:pos x="36" y="2"/>
              </a:cxn>
              <a:cxn ang="0">
                <a:pos x="26" y="4"/>
              </a:cxn>
              <a:cxn ang="0">
                <a:pos x="18" y="7"/>
              </a:cxn>
              <a:cxn ang="0">
                <a:pos x="11" y="9"/>
              </a:cxn>
              <a:cxn ang="0">
                <a:pos x="6" y="12"/>
              </a:cxn>
              <a:cxn ang="0">
                <a:pos x="3" y="16"/>
              </a:cxn>
              <a:cxn ang="0">
                <a:pos x="0" y="20"/>
              </a:cxn>
              <a:cxn ang="0">
                <a:pos x="0" y="24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59" y="36"/>
              </a:cxn>
              <a:cxn ang="0">
                <a:pos x="67" y="30"/>
              </a:cxn>
              <a:cxn ang="0">
                <a:pos x="75" y="26"/>
              </a:cxn>
              <a:cxn ang="0">
                <a:pos x="84" y="23"/>
              </a:cxn>
              <a:cxn ang="0">
                <a:pos x="91" y="20"/>
              </a:cxn>
              <a:cxn ang="0">
                <a:pos x="98" y="17"/>
              </a:cxn>
              <a:cxn ang="0">
                <a:pos x="104" y="13"/>
              </a:cxn>
              <a:cxn ang="0">
                <a:pos x="107" y="11"/>
              </a:cxn>
              <a:cxn ang="0">
                <a:pos x="109" y="8"/>
              </a:cxn>
              <a:cxn ang="0">
                <a:pos x="111" y="4"/>
              </a:cxn>
              <a:cxn ang="0">
                <a:pos x="112" y="0"/>
              </a:cxn>
              <a:cxn ang="0">
                <a:pos x="100" y="0"/>
              </a:cxn>
              <a:cxn ang="0">
                <a:pos x="85" y="1"/>
              </a:cxn>
              <a:cxn ang="0">
                <a:pos x="67" y="3"/>
              </a:cxn>
              <a:cxn ang="0">
                <a:pos x="48" y="7"/>
              </a:cxn>
              <a:cxn ang="0">
                <a:pos x="40" y="9"/>
              </a:cxn>
              <a:cxn ang="0">
                <a:pos x="31" y="11"/>
              </a:cxn>
              <a:cxn ang="0">
                <a:pos x="23" y="14"/>
              </a:cxn>
              <a:cxn ang="0">
                <a:pos x="17" y="18"/>
              </a:cxn>
              <a:cxn ang="0">
                <a:pos x="10" y="22"/>
              </a:cxn>
              <a:cxn ang="0">
                <a:pos x="6" y="26"/>
              </a:cxn>
              <a:cxn ang="0">
                <a:pos x="1" y="31"/>
              </a:cxn>
              <a:cxn ang="0">
                <a:pos x="0" y="36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/>
            <a:ahLst/>
            <a:cxnLst>
              <a:cxn ang="0">
                <a:pos x="433" y="765"/>
              </a:cxn>
              <a:cxn ang="0">
                <a:pos x="412" y="764"/>
              </a:cxn>
              <a:cxn ang="0">
                <a:pos x="390" y="794"/>
              </a:cxn>
              <a:cxn ang="0">
                <a:pos x="375" y="792"/>
              </a:cxn>
              <a:cxn ang="0">
                <a:pos x="370" y="751"/>
              </a:cxn>
              <a:cxn ang="0">
                <a:pos x="324" y="724"/>
              </a:cxn>
              <a:cxn ang="0">
                <a:pos x="312" y="708"/>
              </a:cxn>
              <a:cxn ang="0">
                <a:pos x="288" y="692"/>
              </a:cxn>
              <a:cxn ang="0">
                <a:pos x="251" y="641"/>
              </a:cxn>
              <a:cxn ang="0">
                <a:pos x="232" y="610"/>
              </a:cxn>
              <a:cxn ang="0">
                <a:pos x="253" y="594"/>
              </a:cxn>
              <a:cxn ang="0">
                <a:pos x="279" y="573"/>
              </a:cxn>
              <a:cxn ang="0">
                <a:pos x="338" y="544"/>
              </a:cxn>
              <a:cxn ang="0">
                <a:pos x="319" y="487"/>
              </a:cxn>
              <a:cxn ang="0">
                <a:pos x="258" y="475"/>
              </a:cxn>
              <a:cxn ang="0">
                <a:pos x="209" y="470"/>
              </a:cxn>
              <a:cxn ang="0">
                <a:pos x="157" y="495"/>
              </a:cxn>
              <a:cxn ang="0">
                <a:pos x="106" y="505"/>
              </a:cxn>
              <a:cxn ang="0">
                <a:pos x="27" y="413"/>
              </a:cxn>
              <a:cxn ang="0">
                <a:pos x="20" y="283"/>
              </a:cxn>
              <a:cxn ang="0">
                <a:pos x="113" y="259"/>
              </a:cxn>
              <a:cxn ang="0">
                <a:pos x="292" y="222"/>
              </a:cxn>
              <a:cxn ang="0">
                <a:pos x="498" y="253"/>
              </a:cxn>
              <a:cxn ang="0">
                <a:pos x="717" y="253"/>
              </a:cxn>
              <a:cxn ang="0">
                <a:pos x="658" y="185"/>
              </a:cxn>
              <a:cxn ang="0">
                <a:pos x="830" y="68"/>
              </a:cxn>
              <a:cxn ang="0">
                <a:pos x="1050" y="13"/>
              </a:cxn>
              <a:cxn ang="0">
                <a:pos x="1176" y="61"/>
              </a:cxn>
              <a:cxn ang="0">
                <a:pos x="1296" y="111"/>
              </a:cxn>
              <a:cxn ang="0">
                <a:pos x="1442" y="99"/>
              </a:cxn>
              <a:cxn ang="0">
                <a:pos x="1647" y="271"/>
              </a:cxn>
              <a:cxn ang="0">
                <a:pos x="1793" y="265"/>
              </a:cxn>
              <a:cxn ang="0">
                <a:pos x="2000" y="339"/>
              </a:cxn>
              <a:cxn ang="0">
                <a:pos x="2002" y="381"/>
              </a:cxn>
              <a:cxn ang="0">
                <a:pos x="1981" y="399"/>
              </a:cxn>
              <a:cxn ang="0">
                <a:pos x="1960" y="404"/>
              </a:cxn>
              <a:cxn ang="0">
                <a:pos x="1963" y="425"/>
              </a:cxn>
              <a:cxn ang="0">
                <a:pos x="1985" y="466"/>
              </a:cxn>
              <a:cxn ang="0">
                <a:pos x="1979" y="478"/>
              </a:cxn>
              <a:cxn ang="0">
                <a:pos x="1939" y="481"/>
              </a:cxn>
              <a:cxn ang="0">
                <a:pos x="1893" y="474"/>
              </a:cxn>
              <a:cxn ang="0">
                <a:pos x="1864" y="474"/>
              </a:cxn>
              <a:cxn ang="0">
                <a:pos x="1878" y="548"/>
              </a:cxn>
              <a:cxn ang="0">
                <a:pos x="1880" y="586"/>
              </a:cxn>
              <a:cxn ang="0">
                <a:pos x="1789" y="588"/>
              </a:cxn>
              <a:cxn ang="0">
                <a:pos x="1768" y="604"/>
              </a:cxn>
              <a:cxn ang="0">
                <a:pos x="1795" y="619"/>
              </a:cxn>
              <a:cxn ang="0">
                <a:pos x="1814" y="650"/>
              </a:cxn>
              <a:cxn ang="0">
                <a:pos x="1834" y="689"/>
              </a:cxn>
              <a:cxn ang="0">
                <a:pos x="1837" y="706"/>
              </a:cxn>
              <a:cxn ang="0">
                <a:pos x="1837" y="754"/>
              </a:cxn>
              <a:cxn ang="0">
                <a:pos x="1741" y="740"/>
              </a:cxn>
              <a:cxn ang="0">
                <a:pos x="1475" y="764"/>
              </a:cxn>
              <a:cxn ang="0">
                <a:pos x="1316" y="795"/>
              </a:cxn>
              <a:cxn ang="0">
                <a:pos x="1142" y="838"/>
              </a:cxn>
              <a:cxn ang="0">
                <a:pos x="963" y="697"/>
              </a:cxn>
              <a:cxn ang="0">
                <a:pos x="684" y="586"/>
              </a:cxn>
              <a:cxn ang="0">
                <a:pos x="584" y="832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/>
            <a:ahLst/>
            <a:cxnLst>
              <a:cxn ang="0">
                <a:pos x="638" y="443"/>
              </a:cxn>
              <a:cxn ang="0">
                <a:pos x="558" y="418"/>
              </a:cxn>
              <a:cxn ang="0">
                <a:pos x="471" y="376"/>
              </a:cxn>
              <a:cxn ang="0">
                <a:pos x="392" y="307"/>
              </a:cxn>
              <a:cxn ang="0">
                <a:pos x="305" y="258"/>
              </a:cxn>
              <a:cxn ang="0">
                <a:pos x="253" y="209"/>
              </a:cxn>
              <a:cxn ang="0">
                <a:pos x="186" y="172"/>
              </a:cxn>
              <a:cxn ang="0">
                <a:pos x="133" y="190"/>
              </a:cxn>
              <a:cxn ang="0">
                <a:pos x="99" y="240"/>
              </a:cxn>
              <a:cxn ang="0">
                <a:pos x="40" y="246"/>
              </a:cxn>
              <a:cxn ang="0">
                <a:pos x="0" y="24"/>
              </a:cxn>
              <a:cxn ang="0">
                <a:pos x="79" y="6"/>
              </a:cxn>
              <a:cxn ang="0">
                <a:pos x="133" y="55"/>
              </a:cxn>
              <a:cxn ang="0">
                <a:pos x="157" y="15"/>
              </a:cxn>
              <a:cxn ang="0">
                <a:pos x="332" y="117"/>
              </a:cxn>
              <a:cxn ang="0">
                <a:pos x="438" y="117"/>
              </a:cxn>
              <a:cxn ang="0">
                <a:pos x="525" y="135"/>
              </a:cxn>
              <a:cxn ang="0">
                <a:pos x="597" y="228"/>
              </a:cxn>
              <a:cxn ang="0">
                <a:pos x="671" y="252"/>
              </a:cxn>
              <a:cxn ang="0">
                <a:pos x="730" y="258"/>
              </a:cxn>
              <a:cxn ang="0">
                <a:pos x="791" y="215"/>
              </a:cxn>
              <a:cxn ang="0">
                <a:pos x="843" y="196"/>
              </a:cxn>
              <a:cxn ang="0">
                <a:pos x="824" y="252"/>
              </a:cxn>
              <a:cxn ang="0">
                <a:pos x="870" y="240"/>
              </a:cxn>
              <a:cxn ang="0">
                <a:pos x="950" y="283"/>
              </a:cxn>
              <a:cxn ang="0">
                <a:pos x="883" y="320"/>
              </a:cxn>
              <a:cxn ang="0">
                <a:pos x="824" y="283"/>
              </a:cxn>
              <a:cxn ang="0">
                <a:pos x="764" y="277"/>
              </a:cxn>
              <a:cxn ang="0">
                <a:pos x="737" y="320"/>
              </a:cxn>
              <a:cxn ang="0">
                <a:pos x="684" y="357"/>
              </a:cxn>
              <a:cxn ang="0">
                <a:pos x="710" y="388"/>
              </a:cxn>
              <a:cxn ang="0">
                <a:pos x="743" y="437"/>
              </a:cxn>
              <a:cxn ang="0">
                <a:pos x="717" y="468"/>
              </a:cxn>
              <a:cxn ang="0">
                <a:pos x="703" y="465"/>
              </a:cxn>
              <a:cxn ang="0">
                <a:pos x="684" y="461"/>
              </a:cxn>
              <a:cxn ang="0">
                <a:pos x="658" y="46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/>
            <a:ahLst/>
            <a:cxnLst>
              <a:cxn ang="0">
                <a:pos x="6" y="383"/>
              </a:cxn>
              <a:cxn ang="0">
                <a:pos x="8" y="316"/>
              </a:cxn>
              <a:cxn ang="0">
                <a:pos x="17" y="287"/>
              </a:cxn>
              <a:cxn ang="0">
                <a:pos x="52" y="238"/>
              </a:cxn>
              <a:cxn ang="0">
                <a:pos x="71" y="205"/>
              </a:cxn>
              <a:cxn ang="0">
                <a:pos x="73" y="167"/>
              </a:cxn>
              <a:cxn ang="0">
                <a:pos x="73" y="137"/>
              </a:cxn>
              <a:cxn ang="0">
                <a:pos x="54" y="108"/>
              </a:cxn>
              <a:cxn ang="0">
                <a:pos x="61" y="79"/>
              </a:cxn>
              <a:cxn ang="0">
                <a:pos x="76" y="50"/>
              </a:cxn>
              <a:cxn ang="0">
                <a:pos x="96" y="25"/>
              </a:cxn>
              <a:cxn ang="0">
                <a:pos x="120" y="7"/>
              </a:cxn>
              <a:cxn ang="0">
                <a:pos x="146" y="0"/>
              </a:cxn>
              <a:cxn ang="0">
                <a:pos x="173" y="5"/>
              </a:cxn>
              <a:cxn ang="0">
                <a:pos x="206" y="26"/>
              </a:cxn>
              <a:cxn ang="0">
                <a:pos x="236" y="45"/>
              </a:cxn>
              <a:cxn ang="0">
                <a:pos x="259" y="50"/>
              </a:cxn>
              <a:cxn ang="0">
                <a:pos x="272" y="44"/>
              </a:cxn>
              <a:cxn ang="0">
                <a:pos x="284" y="35"/>
              </a:cxn>
              <a:cxn ang="0">
                <a:pos x="300" y="32"/>
              </a:cxn>
              <a:cxn ang="0">
                <a:pos x="318" y="39"/>
              </a:cxn>
              <a:cxn ang="0">
                <a:pos x="337" y="65"/>
              </a:cxn>
              <a:cxn ang="0">
                <a:pos x="353" y="79"/>
              </a:cxn>
              <a:cxn ang="0">
                <a:pos x="370" y="81"/>
              </a:cxn>
              <a:cxn ang="0">
                <a:pos x="381" y="75"/>
              </a:cxn>
              <a:cxn ang="0">
                <a:pos x="397" y="56"/>
              </a:cxn>
              <a:cxn ang="0">
                <a:pos x="419" y="38"/>
              </a:cxn>
              <a:cxn ang="0">
                <a:pos x="458" y="22"/>
              </a:cxn>
              <a:cxn ang="0">
                <a:pos x="487" y="25"/>
              </a:cxn>
              <a:cxn ang="0">
                <a:pos x="511" y="35"/>
              </a:cxn>
              <a:cxn ang="0">
                <a:pos x="537" y="43"/>
              </a:cxn>
              <a:cxn ang="0">
                <a:pos x="571" y="39"/>
              </a:cxn>
              <a:cxn ang="0">
                <a:pos x="646" y="67"/>
              </a:cxn>
              <a:cxn ang="0">
                <a:pos x="665" y="105"/>
              </a:cxn>
              <a:cxn ang="0">
                <a:pos x="623" y="183"/>
              </a:cxn>
              <a:cxn ang="0">
                <a:pos x="593" y="233"/>
              </a:cxn>
              <a:cxn ang="0">
                <a:pos x="570" y="291"/>
              </a:cxn>
              <a:cxn ang="0">
                <a:pos x="550" y="343"/>
              </a:cxn>
              <a:cxn ang="0">
                <a:pos x="525" y="407"/>
              </a:cxn>
              <a:cxn ang="0">
                <a:pos x="516" y="422"/>
              </a:cxn>
              <a:cxn ang="0">
                <a:pos x="500" y="439"/>
              </a:cxn>
              <a:cxn ang="0">
                <a:pos x="482" y="443"/>
              </a:cxn>
              <a:cxn ang="0">
                <a:pos x="459" y="432"/>
              </a:cxn>
              <a:cxn ang="0">
                <a:pos x="440" y="421"/>
              </a:cxn>
              <a:cxn ang="0">
                <a:pos x="408" y="424"/>
              </a:cxn>
              <a:cxn ang="0">
                <a:pos x="381" y="441"/>
              </a:cxn>
              <a:cxn ang="0">
                <a:pos x="364" y="469"/>
              </a:cxn>
              <a:cxn ang="0">
                <a:pos x="342" y="521"/>
              </a:cxn>
              <a:cxn ang="0">
                <a:pos x="325" y="549"/>
              </a:cxn>
              <a:cxn ang="0">
                <a:pos x="229" y="546"/>
              </a:cxn>
              <a:cxn ang="0">
                <a:pos x="217" y="548"/>
              </a:cxn>
              <a:cxn ang="0">
                <a:pos x="179" y="543"/>
              </a:cxn>
              <a:cxn ang="0">
                <a:pos x="161" y="540"/>
              </a:cxn>
              <a:cxn ang="0">
                <a:pos x="144" y="531"/>
              </a:cxn>
              <a:cxn ang="0">
                <a:pos x="129" y="515"/>
              </a:cxn>
              <a:cxn ang="0">
                <a:pos x="119" y="496"/>
              </a:cxn>
              <a:cxn ang="0">
                <a:pos x="113" y="472"/>
              </a:cxn>
              <a:cxn ang="0">
                <a:pos x="100" y="460"/>
              </a:cxn>
              <a:cxn ang="0">
                <a:pos x="83" y="447"/>
              </a:cxn>
              <a:cxn ang="0">
                <a:pos x="63" y="432"/>
              </a:cxn>
              <a:cxn ang="0">
                <a:pos x="39" y="429"/>
              </a:cxn>
              <a:cxn ang="0">
                <a:pos x="0" y="438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/>
            <a:ahLst/>
            <a:cxnLst>
              <a:cxn ang="0">
                <a:pos x="326" y="324"/>
              </a:cxn>
              <a:cxn ang="0">
                <a:pos x="331" y="321"/>
              </a:cxn>
              <a:cxn ang="0">
                <a:pos x="337" y="318"/>
              </a:cxn>
              <a:cxn ang="0">
                <a:pos x="346" y="318"/>
              </a:cxn>
              <a:cxn ang="0">
                <a:pos x="356" y="324"/>
              </a:cxn>
              <a:cxn ang="0">
                <a:pos x="319" y="285"/>
              </a:cxn>
              <a:cxn ang="0">
                <a:pos x="278" y="235"/>
              </a:cxn>
              <a:cxn ang="0">
                <a:pos x="253" y="204"/>
              </a:cxn>
              <a:cxn ang="0">
                <a:pos x="232" y="186"/>
              </a:cxn>
              <a:cxn ang="0">
                <a:pos x="219" y="181"/>
              </a:cxn>
              <a:cxn ang="0">
                <a:pos x="208" y="180"/>
              </a:cxn>
              <a:cxn ang="0">
                <a:pos x="201" y="179"/>
              </a:cxn>
              <a:cxn ang="0">
                <a:pos x="199" y="174"/>
              </a:cxn>
              <a:cxn ang="0">
                <a:pos x="198" y="170"/>
              </a:cxn>
              <a:cxn ang="0">
                <a:pos x="195" y="169"/>
              </a:cxn>
              <a:cxn ang="0">
                <a:pos x="184" y="172"/>
              </a:cxn>
              <a:cxn ang="0">
                <a:pos x="171" y="172"/>
              </a:cxn>
              <a:cxn ang="0">
                <a:pos x="165" y="168"/>
              </a:cxn>
              <a:cxn ang="0">
                <a:pos x="160" y="161"/>
              </a:cxn>
              <a:cxn ang="0">
                <a:pos x="152" y="144"/>
              </a:cxn>
              <a:cxn ang="0">
                <a:pos x="143" y="131"/>
              </a:cxn>
              <a:cxn ang="0">
                <a:pos x="133" y="119"/>
              </a:cxn>
              <a:cxn ang="0">
                <a:pos x="127" y="105"/>
              </a:cxn>
              <a:cxn ang="0">
                <a:pos x="122" y="84"/>
              </a:cxn>
              <a:cxn ang="0">
                <a:pos x="119" y="53"/>
              </a:cxn>
              <a:cxn ang="0">
                <a:pos x="117" y="23"/>
              </a:cxn>
              <a:cxn ang="0">
                <a:pos x="112" y="0"/>
              </a:cxn>
              <a:cxn ang="0">
                <a:pos x="73" y="26"/>
              </a:cxn>
              <a:cxn ang="0">
                <a:pos x="61" y="33"/>
              </a:cxn>
              <a:cxn ang="0">
                <a:pos x="33" y="50"/>
              </a:cxn>
              <a:cxn ang="0">
                <a:pos x="21" y="61"/>
              </a:cxn>
              <a:cxn ang="0">
                <a:pos x="17" y="72"/>
              </a:cxn>
              <a:cxn ang="0">
                <a:pos x="16" y="83"/>
              </a:cxn>
              <a:cxn ang="0">
                <a:pos x="20" y="93"/>
              </a:cxn>
              <a:cxn ang="0">
                <a:pos x="22" y="100"/>
              </a:cxn>
              <a:cxn ang="0">
                <a:pos x="20" y="110"/>
              </a:cxn>
              <a:cxn ang="0">
                <a:pos x="15" y="123"/>
              </a:cxn>
              <a:cxn ang="0">
                <a:pos x="7" y="136"/>
              </a:cxn>
              <a:cxn ang="0">
                <a:pos x="0" y="155"/>
              </a:cxn>
              <a:cxn ang="0">
                <a:pos x="0" y="174"/>
              </a:cxn>
              <a:cxn ang="0">
                <a:pos x="5" y="182"/>
              </a:cxn>
              <a:cxn ang="0">
                <a:pos x="11" y="187"/>
              </a:cxn>
              <a:cxn ang="0">
                <a:pos x="20" y="186"/>
              </a:cxn>
              <a:cxn ang="0">
                <a:pos x="44" y="168"/>
              </a:cxn>
              <a:cxn ang="0">
                <a:pos x="60" y="161"/>
              </a:cxn>
              <a:cxn ang="0">
                <a:pos x="76" y="150"/>
              </a:cxn>
              <a:cxn ang="0">
                <a:pos x="93" y="159"/>
              </a:cxn>
              <a:cxn ang="0">
                <a:pos x="110" y="164"/>
              </a:cxn>
              <a:cxn ang="0">
                <a:pos x="142" y="180"/>
              </a:cxn>
              <a:cxn ang="0">
                <a:pos x="163" y="190"/>
              </a:cxn>
              <a:cxn ang="0">
                <a:pos x="196" y="209"/>
              </a:cxn>
              <a:cxn ang="0">
                <a:pos x="219" y="225"/>
              </a:cxn>
              <a:cxn ang="0">
                <a:pos x="245" y="244"/>
              </a:cxn>
              <a:cxn ang="0">
                <a:pos x="256" y="254"/>
              </a:cxn>
              <a:cxn ang="0">
                <a:pos x="267" y="270"/>
              </a:cxn>
              <a:cxn ang="0">
                <a:pos x="269" y="279"/>
              </a:cxn>
              <a:cxn ang="0">
                <a:pos x="269" y="286"/>
              </a:cxn>
              <a:cxn ang="0">
                <a:pos x="270" y="290"/>
              </a:cxn>
              <a:cxn ang="0">
                <a:pos x="276" y="292"/>
              </a:cxn>
              <a:cxn ang="0">
                <a:pos x="292" y="302"/>
              </a:cxn>
              <a:cxn ang="0">
                <a:pos x="318" y="3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53" y="0"/>
              </a:cxn>
              <a:cxn ang="0">
                <a:pos x="198" y="1"/>
              </a:cxn>
              <a:cxn ang="0">
                <a:pos x="250" y="6"/>
              </a:cxn>
              <a:cxn ang="0">
                <a:pos x="292" y="7"/>
              </a:cxn>
              <a:cxn ang="0">
                <a:pos x="290" y="20"/>
              </a:cxn>
              <a:cxn ang="0">
                <a:pos x="285" y="33"/>
              </a:cxn>
              <a:cxn ang="0">
                <a:pos x="279" y="55"/>
              </a:cxn>
              <a:cxn ang="0">
                <a:pos x="135" y="70"/>
              </a:cxn>
              <a:cxn ang="0">
                <a:pos x="99" y="89"/>
              </a:cxn>
              <a:cxn ang="0">
                <a:pos x="79" y="96"/>
              </a:cxn>
              <a:cxn ang="0">
                <a:pos x="66" y="98"/>
              </a:cxn>
              <a:cxn ang="0">
                <a:pos x="55" y="98"/>
              </a:cxn>
              <a:cxn ang="0">
                <a:pos x="45" y="94"/>
              </a:cxn>
              <a:cxn ang="0">
                <a:pos x="33" y="86"/>
              </a:cxn>
              <a:cxn ang="0">
                <a:pos x="20" y="77"/>
              </a:cxn>
              <a:cxn ang="0">
                <a:pos x="7" y="69"/>
              </a:cxn>
              <a:cxn ang="0">
                <a:pos x="1" y="57"/>
              </a:cxn>
              <a:cxn ang="0">
                <a:pos x="0" y="42"/>
              </a:cxn>
              <a:cxn ang="0">
                <a:pos x="1" y="25"/>
              </a:cxn>
              <a:cxn ang="0">
                <a:pos x="3" y="20"/>
              </a:cxn>
              <a:cxn ang="0">
                <a:pos x="9" y="18"/>
              </a:cxn>
              <a:cxn ang="0">
                <a:pos x="15" y="21"/>
              </a:cxn>
              <a:cxn ang="0">
                <a:pos x="25" y="28"/>
              </a:cxn>
              <a:cxn ang="0">
                <a:pos x="35" y="32"/>
              </a:cxn>
              <a:cxn ang="0">
                <a:pos x="45" y="34"/>
              </a:cxn>
              <a:cxn ang="0">
                <a:pos x="54" y="33"/>
              </a:cxn>
              <a:cxn ang="0">
                <a:pos x="67" y="29"/>
              </a:cxn>
              <a:cxn ang="0">
                <a:pos x="81" y="19"/>
              </a:cxn>
              <a:cxn ang="0">
                <a:pos x="88" y="11"/>
              </a:cxn>
              <a:cxn ang="0">
                <a:pos x="94" y="6"/>
              </a:cxn>
              <a:cxn ang="0">
                <a:pos x="109" y="1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/>
            <a:ahLst/>
            <a:cxnLst>
              <a:cxn ang="0">
                <a:pos x="39" y="93"/>
              </a:cxn>
              <a:cxn ang="0">
                <a:pos x="31" y="91"/>
              </a:cxn>
              <a:cxn ang="0">
                <a:pos x="26" y="89"/>
              </a:cxn>
              <a:cxn ang="0">
                <a:pos x="21" y="87"/>
              </a:cxn>
              <a:cxn ang="0">
                <a:pos x="18" y="84"/>
              </a:cxn>
              <a:cxn ang="0">
                <a:pos x="15" y="79"/>
              </a:cxn>
              <a:cxn ang="0">
                <a:pos x="14" y="73"/>
              </a:cxn>
              <a:cxn ang="0">
                <a:pos x="13" y="65"/>
              </a:cxn>
              <a:cxn ang="0">
                <a:pos x="11" y="55"/>
              </a:cxn>
              <a:cxn ang="0">
                <a:pos x="11" y="48"/>
              </a:cxn>
              <a:cxn ang="0">
                <a:pos x="9" y="42"/>
              </a:cxn>
              <a:cxn ang="0">
                <a:pos x="6" y="38"/>
              </a:cxn>
              <a:cxn ang="0">
                <a:pos x="4" y="36"/>
              </a:cxn>
              <a:cxn ang="0">
                <a:pos x="2" y="34"/>
              </a:cxn>
              <a:cxn ang="0">
                <a:pos x="0" y="32"/>
              </a:cxn>
              <a:cxn ang="0">
                <a:pos x="2" y="29"/>
              </a:cxn>
              <a:cxn ang="0">
                <a:pos x="5" y="24"/>
              </a:cxn>
              <a:cxn ang="0">
                <a:pos x="6" y="28"/>
              </a:cxn>
              <a:cxn ang="0">
                <a:pos x="7" y="29"/>
              </a:cxn>
              <a:cxn ang="0">
                <a:pos x="8" y="30"/>
              </a:cxn>
              <a:cxn ang="0">
                <a:pos x="9" y="29"/>
              </a:cxn>
              <a:cxn ang="0">
                <a:pos x="11" y="25"/>
              </a:cxn>
              <a:cxn ang="0">
                <a:pos x="14" y="19"/>
              </a:cxn>
              <a:cxn ang="0">
                <a:pos x="16" y="12"/>
              </a:cxn>
              <a:cxn ang="0">
                <a:pos x="20" y="6"/>
              </a:cxn>
              <a:cxn ang="0">
                <a:pos x="22" y="4"/>
              </a:cxn>
              <a:cxn ang="0">
                <a:pos x="25" y="2"/>
              </a:cxn>
              <a:cxn ang="0">
                <a:pos x="28" y="0"/>
              </a:cxn>
              <a:cxn ang="0">
                <a:pos x="32" y="0"/>
              </a:cxn>
              <a:cxn ang="0">
                <a:pos x="33" y="10"/>
              </a:cxn>
              <a:cxn ang="0">
                <a:pos x="33" y="16"/>
              </a:cxn>
              <a:cxn ang="0">
                <a:pos x="33" y="20"/>
              </a:cxn>
              <a:cxn ang="0">
                <a:pos x="32" y="23"/>
              </a:cxn>
              <a:cxn ang="0">
                <a:pos x="32" y="27"/>
              </a:cxn>
              <a:cxn ang="0">
                <a:pos x="32" y="31"/>
              </a:cxn>
              <a:cxn ang="0">
                <a:pos x="35" y="36"/>
              </a:cxn>
              <a:cxn ang="0">
                <a:pos x="39" y="43"/>
              </a:cxn>
              <a:cxn ang="0">
                <a:pos x="38" y="44"/>
              </a:cxn>
              <a:cxn ang="0">
                <a:pos x="37" y="45"/>
              </a:cxn>
              <a:cxn ang="0">
                <a:pos x="37" y="48"/>
              </a:cxn>
              <a:cxn ang="0">
                <a:pos x="38" y="51"/>
              </a:cxn>
              <a:cxn ang="0">
                <a:pos x="39" y="59"/>
              </a:cxn>
              <a:cxn ang="0">
                <a:pos x="41" y="68"/>
              </a:cxn>
              <a:cxn ang="0">
                <a:pos x="42" y="76"/>
              </a:cxn>
              <a:cxn ang="0">
                <a:pos x="43" y="85"/>
              </a:cxn>
              <a:cxn ang="0">
                <a:pos x="43" y="88"/>
              </a:cxn>
              <a:cxn ang="0">
                <a:pos x="42" y="91"/>
              </a:cxn>
              <a:cxn ang="0">
                <a:pos x="40" y="92"/>
              </a:cxn>
              <a:cxn ang="0">
                <a:pos x="39" y="93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/>
            <a:ahLst/>
            <a:cxnLst>
              <a:cxn ang="0">
                <a:pos x="40" y="56"/>
              </a:cxn>
              <a:cxn ang="0">
                <a:pos x="37" y="46"/>
              </a:cxn>
              <a:cxn ang="0">
                <a:pos x="33" y="38"/>
              </a:cxn>
              <a:cxn ang="0">
                <a:pos x="28" y="32"/>
              </a:cxn>
              <a:cxn ang="0">
                <a:pos x="23" y="28"/>
              </a:cxn>
              <a:cxn ang="0">
                <a:pos x="11" y="21"/>
              </a:cxn>
              <a:cxn ang="0">
                <a:pos x="0" y="12"/>
              </a:cxn>
              <a:cxn ang="0">
                <a:pos x="13" y="4"/>
              </a:cxn>
              <a:cxn ang="0">
                <a:pos x="20" y="0"/>
              </a:cxn>
              <a:cxn ang="0">
                <a:pos x="28" y="12"/>
              </a:cxn>
              <a:cxn ang="0">
                <a:pos x="35" y="22"/>
              </a:cxn>
              <a:cxn ang="0">
                <a:pos x="37" y="25"/>
              </a:cxn>
              <a:cxn ang="0">
                <a:pos x="39" y="29"/>
              </a:cxn>
              <a:cxn ang="0">
                <a:pos x="39" y="33"/>
              </a:cxn>
              <a:cxn ang="0">
                <a:pos x="40" y="37"/>
              </a:cxn>
              <a:cxn ang="0">
                <a:pos x="40" y="44"/>
              </a:cxn>
              <a:cxn ang="0">
                <a:pos x="40" y="46"/>
              </a:cxn>
              <a:cxn ang="0">
                <a:pos x="40" y="49"/>
              </a:cxn>
              <a:cxn ang="0">
                <a:pos x="40" y="56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2" y="10"/>
              </a:cxn>
              <a:cxn ang="0">
                <a:pos x="24" y="12"/>
              </a:cxn>
              <a:cxn ang="0">
                <a:pos x="35" y="13"/>
              </a:cxn>
              <a:cxn ang="0">
                <a:pos x="45" y="13"/>
              </a:cxn>
              <a:cxn ang="0">
                <a:pos x="54" y="11"/>
              </a:cxn>
              <a:cxn ang="0">
                <a:pos x="61" y="8"/>
              </a:cxn>
              <a:cxn ang="0">
                <a:pos x="68" y="5"/>
              </a:cxn>
              <a:cxn ang="0">
                <a:pos x="74" y="0"/>
              </a:cxn>
              <a:cxn ang="0">
                <a:pos x="84" y="16"/>
              </a:cxn>
              <a:cxn ang="0">
                <a:pos x="94" y="30"/>
              </a:cxn>
              <a:cxn ang="0">
                <a:pos x="101" y="44"/>
              </a:cxn>
              <a:cxn ang="0">
                <a:pos x="105" y="55"/>
              </a:cxn>
              <a:cxn ang="0">
                <a:pos x="106" y="60"/>
              </a:cxn>
              <a:cxn ang="0">
                <a:pos x="106" y="63"/>
              </a:cxn>
              <a:cxn ang="0">
                <a:pos x="105" y="67"/>
              </a:cxn>
              <a:cxn ang="0">
                <a:pos x="103" y="69"/>
              </a:cxn>
              <a:cxn ang="0">
                <a:pos x="101" y="70"/>
              </a:cxn>
              <a:cxn ang="0">
                <a:pos x="98" y="70"/>
              </a:cxn>
              <a:cxn ang="0">
                <a:pos x="92" y="70"/>
              </a:cxn>
              <a:cxn ang="0">
                <a:pos x="87" y="68"/>
              </a:cxn>
              <a:cxn ang="0">
                <a:pos x="74" y="70"/>
              </a:cxn>
              <a:cxn ang="0">
                <a:pos x="63" y="71"/>
              </a:cxn>
              <a:cxn ang="0">
                <a:pos x="53" y="69"/>
              </a:cxn>
              <a:cxn ang="0">
                <a:pos x="45" y="66"/>
              </a:cxn>
              <a:cxn ang="0">
                <a:pos x="37" y="62"/>
              </a:cxn>
              <a:cxn ang="0">
                <a:pos x="32" y="57"/>
              </a:cxn>
              <a:cxn ang="0">
                <a:pos x="27" y="51"/>
              </a:cxn>
              <a:cxn ang="0">
                <a:pos x="24" y="45"/>
              </a:cxn>
              <a:cxn ang="0">
                <a:pos x="21" y="38"/>
              </a:cxn>
              <a:cxn ang="0">
                <a:pos x="20" y="30"/>
              </a:cxn>
              <a:cxn ang="0">
                <a:pos x="19" y="24"/>
              </a:cxn>
              <a:cxn ang="0">
                <a:pos x="18" y="19"/>
              </a:cxn>
              <a:cxn ang="0">
                <a:pos x="18" y="14"/>
              </a:cxn>
              <a:cxn ang="0">
                <a:pos x="19" y="10"/>
              </a:cxn>
              <a:cxn ang="0">
                <a:pos x="20" y="7"/>
              </a:cxn>
              <a:cxn ang="0">
                <a:pos x="21" y="7"/>
              </a:cxn>
              <a:cxn ang="0">
                <a:pos x="20" y="10"/>
              </a:cxn>
              <a:cxn ang="0">
                <a:pos x="19" y="16"/>
              </a:cxn>
              <a:cxn ang="0">
                <a:pos x="19" y="17"/>
              </a:cxn>
              <a:cxn ang="0">
                <a:pos x="19" y="17"/>
              </a:cxn>
              <a:cxn ang="0">
                <a:pos x="20" y="17"/>
              </a:cxn>
              <a:cxn ang="0">
                <a:pos x="21" y="17"/>
              </a:cxn>
              <a:cxn ang="0">
                <a:pos x="23" y="13"/>
              </a:cxn>
              <a:cxn ang="0">
                <a:pos x="27" y="7"/>
              </a:cxn>
              <a:cxn ang="0">
                <a:pos x="0" y="7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3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/>
              <a:ahLst/>
              <a:cxnLst>
                <a:cxn ang="0">
                  <a:pos x="26" y="43"/>
                </a:cxn>
                <a:cxn ang="0">
                  <a:pos x="59" y="18"/>
                </a:cxn>
                <a:cxn ang="0">
                  <a:pos x="55" y="14"/>
                </a:cxn>
                <a:cxn ang="0">
                  <a:pos x="51" y="9"/>
                </a:cxn>
                <a:cxn ang="0">
                  <a:pos x="47" y="5"/>
                </a:cxn>
                <a:cxn ang="0">
                  <a:pos x="46" y="0"/>
                </a:cxn>
                <a:cxn ang="0">
                  <a:pos x="41" y="1"/>
                </a:cxn>
                <a:cxn ang="0">
                  <a:pos x="34" y="4"/>
                </a:cxn>
                <a:cxn ang="0">
                  <a:pos x="31" y="6"/>
                </a:cxn>
                <a:cxn ang="0">
                  <a:pos x="29" y="8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0" y="13"/>
                </a:cxn>
                <a:cxn ang="0">
                  <a:pos x="13" y="16"/>
                </a:cxn>
                <a:cxn ang="0">
                  <a:pos x="6" y="20"/>
                </a:cxn>
                <a:cxn ang="0">
                  <a:pos x="0" y="24"/>
                </a:cxn>
                <a:cxn ang="0">
                  <a:pos x="5" y="29"/>
                </a:cxn>
                <a:cxn ang="0">
                  <a:pos x="10" y="34"/>
                </a:cxn>
                <a:cxn ang="0">
                  <a:pos x="18" y="39"/>
                </a:cxn>
                <a:cxn ang="0">
                  <a:pos x="26" y="43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4" y="1"/>
                </a:cxn>
                <a:cxn ang="0">
                  <a:pos x="39" y="0"/>
                </a:cxn>
                <a:cxn ang="0">
                  <a:pos x="45" y="1"/>
                </a:cxn>
                <a:cxn ang="0">
                  <a:pos x="51" y="2"/>
                </a:cxn>
                <a:cxn ang="0">
                  <a:pos x="58" y="4"/>
                </a:cxn>
                <a:cxn ang="0">
                  <a:pos x="67" y="8"/>
                </a:cxn>
                <a:cxn ang="0">
                  <a:pos x="55" y="13"/>
                </a:cxn>
                <a:cxn ang="0">
                  <a:pos x="46" y="19"/>
                </a:cxn>
                <a:cxn ang="0">
                  <a:pos x="42" y="22"/>
                </a:cxn>
                <a:cxn ang="0">
                  <a:pos x="36" y="24"/>
                </a:cxn>
                <a:cxn ang="0">
                  <a:pos x="29" y="26"/>
                </a:cxn>
                <a:cxn ang="0">
                  <a:pos x="20" y="26"/>
                </a:cxn>
                <a:cxn ang="0">
                  <a:pos x="24" y="26"/>
                </a:cxn>
                <a:cxn ang="0">
                  <a:pos x="34" y="26"/>
                </a:cxn>
                <a:cxn ang="0">
                  <a:pos x="29" y="34"/>
                </a:cxn>
                <a:cxn ang="0">
                  <a:pos x="25" y="40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12" y="48"/>
                </a:cxn>
                <a:cxn ang="0">
                  <a:pos x="0" y="51"/>
                </a:cxn>
                <a:cxn ang="0">
                  <a:pos x="0" y="2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1" y="19"/>
              </a:cxn>
              <a:cxn ang="0">
                <a:pos x="2" y="21"/>
              </a:cxn>
              <a:cxn ang="0">
                <a:pos x="4" y="24"/>
              </a:cxn>
              <a:cxn ang="0">
                <a:pos x="7" y="26"/>
              </a:cxn>
              <a:cxn ang="0">
                <a:pos x="13" y="29"/>
              </a:cxn>
              <a:cxn ang="0">
                <a:pos x="22" y="31"/>
              </a:cxn>
              <a:cxn ang="0">
                <a:pos x="40" y="33"/>
              </a:cxn>
              <a:cxn ang="0">
                <a:pos x="54" y="34"/>
              </a:cxn>
              <a:cxn ang="0">
                <a:pos x="58" y="33"/>
              </a:cxn>
              <a:cxn ang="0">
                <a:pos x="62" y="32"/>
              </a:cxn>
              <a:cxn ang="0">
                <a:pos x="65" y="29"/>
              </a:cxn>
              <a:cxn ang="0">
                <a:pos x="67" y="27"/>
              </a:cxn>
              <a:cxn ang="0">
                <a:pos x="73" y="21"/>
              </a:cxn>
              <a:cxn ang="0">
                <a:pos x="80" y="15"/>
              </a:cxn>
              <a:cxn ang="0">
                <a:pos x="75" y="10"/>
              </a:cxn>
              <a:cxn ang="0">
                <a:pos x="70" y="7"/>
              </a:cxn>
              <a:cxn ang="0">
                <a:pos x="65" y="4"/>
              </a:cxn>
              <a:cxn ang="0">
                <a:pos x="60" y="2"/>
              </a:cxn>
              <a:cxn ang="0">
                <a:pos x="55" y="0"/>
              </a:cxn>
              <a:cxn ang="0">
                <a:pos x="51" y="0"/>
              </a:cxn>
              <a:cxn ang="0">
                <a:pos x="45" y="1"/>
              </a:cxn>
              <a:cxn ang="0">
                <a:pos x="41" y="2"/>
              </a:cxn>
              <a:cxn ang="0">
                <a:pos x="34" y="2"/>
              </a:cxn>
              <a:cxn ang="0">
                <a:pos x="21" y="2"/>
              </a:cxn>
              <a:cxn ang="0">
                <a:pos x="13" y="3"/>
              </a:cxn>
              <a:cxn ang="0">
                <a:pos x="7" y="5"/>
              </a:cxn>
              <a:cxn ang="0">
                <a:pos x="4" y="7"/>
              </a:cxn>
              <a:cxn ang="0">
                <a:pos x="2" y="9"/>
              </a:cxn>
              <a:cxn ang="0">
                <a:pos x="1" y="11"/>
              </a:cxn>
              <a:cxn ang="0">
                <a:pos x="0" y="15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3"/>
              </a:cxn>
              <a:cxn ang="0">
                <a:pos x="7" y="7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3"/>
              </a:cxn>
              <a:cxn ang="0">
                <a:pos x="20" y="6"/>
              </a:cxn>
              <a:cxn ang="0">
                <a:pos x="0" y="0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4" y="0"/>
              </a:cxn>
              <a:cxn ang="0">
                <a:pos x="0" y="12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2" y="6"/>
              </a:cxn>
              <a:cxn ang="0">
                <a:pos x="7" y="7"/>
              </a:cxn>
              <a:cxn ang="0">
                <a:pos x="10" y="7"/>
              </a:cxn>
              <a:cxn ang="0">
                <a:pos x="15" y="6"/>
              </a:cxn>
              <a:cxn ang="0">
                <a:pos x="19" y="4"/>
              </a:cxn>
              <a:cxn ang="0">
                <a:pos x="23" y="2"/>
              </a:cxn>
              <a:cxn ang="0">
                <a:pos x="27" y="0"/>
              </a:cxn>
              <a:cxn ang="0">
                <a:pos x="0" y="0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" y="3"/>
              </a:cxn>
              <a:cxn ang="0">
                <a:pos x="27" y="6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4"/>
              </a:cxn>
              <a:cxn ang="0">
                <a:pos x="6" y="22"/>
              </a:cxn>
              <a:cxn ang="0">
                <a:pos x="9" y="20"/>
              </a:cxn>
              <a:cxn ang="0">
                <a:pos x="12" y="16"/>
              </a:cxn>
              <a:cxn ang="0">
                <a:pos x="15" y="13"/>
              </a:cxn>
              <a:cxn ang="0">
                <a:pos x="18" y="9"/>
              </a:cxn>
              <a:cxn ang="0">
                <a:pos x="19" y="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19"/>
              </a:cxn>
              <a:cxn ang="0">
                <a:pos x="10" y="20"/>
              </a:cxn>
              <a:cxn ang="0">
                <a:pos x="19" y="22"/>
              </a:cxn>
              <a:cxn ang="0">
                <a:pos x="27" y="25"/>
              </a:cxn>
              <a:cxn ang="0">
                <a:pos x="33" y="25"/>
              </a:cxn>
              <a:cxn ang="0">
                <a:pos x="33" y="0"/>
              </a:cxn>
              <a:cxn ang="0">
                <a:pos x="27" y="0"/>
              </a:cxn>
              <a:cxn ang="0">
                <a:pos x="13" y="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6"/>
              </a:cxn>
              <a:cxn ang="0">
                <a:pos x="6" y="11"/>
              </a:cxn>
              <a:cxn ang="0">
                <a:pos x="10" y="14"/>
              </a:cxn>
              <a:cxn ang="0">
                <a:pos x="15" y="16"/>
              </a:cxn>
              <a:cxn ang="0">
                <a:pos x="27" y="18"/>
              </a:cxn>
              <a:cxn ang="0">
                <a:pos x="40" y="18"/>
              </a:cxn>
              <a:cxn ang="0">
                <a:pos x="40" y="0"/>
              </a:cxn>
              <a:cxn ang="0">
                <a:pos x="30" y="0"/>
              </a:cxn>
              <a:cxn ang="0">
                <a:pos x="20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6" y="28"/>
              </a:cxn>
              <a:cxn ang="0">
                <a:pos x="8" y="25"/>
              </a:cxn>
              <a:cxn ang="0">
                <a:pos x="9" y="22"/>
              </a:cxn>
              <a:cxn ang="0">
                <a:pos x="10" y="18"/>
              </a:cxn>
              <a:cxn ang="0">
                <a:pos x="11" y="9"/>
              </a:cxn>
              <a:cxn ang="0">
                <a:pos x="11" y="0"/>
              </a:cxn>
              <a:cxn ang="0">
                <a:pos x="6" y="3"/>
              </a:cxn>
              <a:cxn ang="0">
                <a:pos x="3" y="7"/>
              </a:cxn>
              <a:cxn ang="0">
                <a:pos x="1" y="11"/>
              </a:cxn>
              <a:cxn ang="0">
                <a:pos x="0" y="16"/>
              </a:cxn>
              <a:cxn ang="0">
                <a:pos x="0" y="20"/>
              </a:cxn>
              <a:cxn ang="0">
                <a:pos x="1" y="24"/>
              </a:cxn>
              <a:cxn ang="0">
                <a:pos x="2" y="28"/>
              </a:cxn>
              <a:cxn ang="0">
                <a:pos x="4" y="32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4"/>
              </a:cxn>
              <a:cxn ang="0">
                <a:pos x="14" y="12"/>
              </a:cxn>
              <a:cxn ang="0">
                <a:pos x="0" y="0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7" y="15"/>
              </a:cxn>
              <a:cxn ang="0">
                <a:pos x="13" y="18"/>
              </a:cxn>
              <a:cxn ang="0">
                <a:pos x="22" y="7"/>
              </a:cxn>
              <a:cxn ang="0">
                <a:pos x="27" y="0"/>
              </a:cxn>
              <a:cxn ang="0">
                <a:pos x="22" y="0"/>
              </a:cxn>
              <a:cxn ang="0">
                <a:pos x="18" y="1"/>
              </a:cxn>
              <a:cxn ang="0">
                <a:pos x="13" y="2"/>
              </a:cxn>
              <a:cxn ang="0">
                <a:pos x="10" y="4"/>
              </a:cxn>
              <a:cxn ang="0">
                <a:pos x="5" y="8"/>
              </a:cxn>
              <a:cxn ang="0">
                <a:pos x="0" y="12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" y="39"/>
              </a:cxn>
              <a:cxn ang="0">
                <a:pos x="2" y="41"/>
              </a:cxn>
              <a:cxn ang="0">
                <a:pos x="4" y="43"/>
              </a:cxn>
              <a:cxn ang="0">
                <a:pos x="6" y="45"/>
              </a:cxn>
              <a:cxn ang="0">
                <a:pos x="12" y="48"/>
              </a:cxn>
              <a:cxn ang="0">
                <a:pos x="14" y="49"/>
              </a:cxn>
              <a:cxn ang="0">
                <a:pos x="18" y="49"/>
              </a:cxn>
              <a:cxn ang="0">
                <a:pos x="24" y="46"/>
              </a:cxn>
              <a:cxn ang="0">
                <a:pos x="29" y="42"/>
              </a:cxn>
              <a:cxn ang="0">
                <a:pos x="35" y="39"/>
              </a:cxn>
              <a:cxn ang="0">
                <a:pos x="39" y="35"/>
              </a:cxn>
              <a:cxn ang="0">
                <a:pos x="44" y="31"/>
              </a:cxn>
              <a:cxn ang="0">
                <a:pos x="46" y="27"/>
              </a:cxn>
              <a:cxn ang="0">
                <a:pos x="47" y="24"/>
              </a:cxn>
              <a:cxn ang="0">
                <a:pos x="47" y="12"/>
              </a:cxn>
              <a:cxn ang="0">
                <a:pos x="47" y="0"/>
              </a:cxn>
              <a:cxn ang="0">
                <a:pos x="27" y="0"/>
              </a:cxn>
              <a:cxn ang="0">
                <a:pos x="17" y="8"/>
              </a:cxn>
              <a:cxn ang="0">
                <a:pos x="9" y="16"/>
              </a:cxn>
              <a:cxn ang="0">
                <a:pos x="5" y="20"/>
              </a:cxn>
              <a:cxn ang="0">
                <a:pos x="2" y="25"/>
              </a:cxn>
              <a:cxn ang="0">
                <a:pos x="1" y="30"/>
              </a:cxn>
              <a:cxn ang="0">
                <a:pos x="0" y="36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3" y="7"/>
              </a:cxn>
              <a:cxn ang="0">
                <a:pos x="6" y="8"/>
              </a:cxn>
              <a:cxn ang="0">
                <a:pos x="11" y="9"/>
              </a:cxn>
              <a:cxn ang="0">
                <a:pos x="15" y="8"/>
              </a:cxn>
              <a:cxn ang="0">
                <a:pos x="20" y="7"/>
              </a:cxn>
              <a:cxn ang="0">
                <a:pos x="23" y="4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6" y="18"/>
              </a:cxn>
              <a:cxn ang="0">
                <a:pos x="13" y="18"/>
              </a:cxn>
              <a:cxn ang="0">
                <a:pos x="23" y="17"/>
              </a:cxn>
              <a:cxn ang="0">
                <a:pos x="30" y="14"/>
              </a:cxn>
              <a:cxn ang="0">
                <a:pos x="34" y="12"/>
              </a:cxn>
              <a:cxn ang="0">
                <a:pos x="37" y="10"/>
              </a:cxn>
              <a:cxn ang="0">
                <a:pos x="38" y="8"/>
              </a:cxn>
              <a:cxn ang="0">
                <a:pos x="39" y="6"/>
              </a:cxn>
              <a:cxn ang="0">
                <a:pos x="29" y="5"/>
              </a:cxn>
              <a:cxn ang="0">
                <a:pos x="19" y="3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4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5"/>
                </a:cxn>
                <a:cxn ang="0">
                  <a:pos x="15" y="24"/>
                </a:cxn>
                <a:cxn ang="0">
                  <a:pos x="23" y="22"/>
                </a:cxn>
                <a:cxn ang="0">
                  <a:pos x="30" y="19"/>
                </a:cxn>
                <a:cxn ang="0">
                  <a:pos x="38" y="15"/>
                </a:cxn>
                <a:cxn ang="0">
                  <a:pos x="43" y="11"/>
                </a:cxn>
                <a:cxn ang="0">
                  <a:pos x="49" y="6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3" y="1"/>
                </a:cxn>
                <a:cxn ang="0">
                  <a:pos x="16" y="3"/>
                </a:cxn>
                <a:cxn ang="0">
                  <a:pos x="11" y="6"/>
                </a:cxn>
                <a:cxn ang="0">
                  <a:pos x="5" y="10"/>
                </a:cxn>
                <a:cxn ang="0">
                  <a:pos x="2" y="16"/>
                </a:cxn>
                <a:cxn ang="0">
                  <a:pos x="0" y="25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  <a:cxn ang="0">
                  <a:pos x="9" y="13"/>
                </a:cxn>
                <a:cxn ang="0">
                  <a:pos x="16" y="13"/>
                </a:cxn>
                <a:cxn ang="0">
                  <a:pos x="24" y="11"/>
                </a:cxn>
                <a:cxn ang="0">
                  <a:pos x="33" y="6"/>
                </a:cxn>
                <a:cxn ang="0">
                  <a:pos x="24" y="3"/>
                </a:cxn>
                <a:cxn ang="0">
                  <a:pos x="16" y="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9" y="4"/>
                </a:cxn>
                <a:cxn ang="0">
                  <a:pos x="33" y="8"/>
                </a:cxn>
                <a:cxn ang="0">
                  <a:pos x="36" y="11"/>
                </a:cxn>
                <a:cxn ang="0">
                  <a:pos x="39" y="14"/>
                </a:cxn>
                <a:cxn ang="0">
                  <a:pos x="47" y="17"/>
                </a:cxn>
                <a:cxn ang="0">
                  <a:pos x="54" y="18"/>
                </a:cxn>
                <a:cxn ang="0">
                  <a:pos x="58" y="30"/>
                </a:cxn>
                <a:cxn ang="0">
                  <a:pos x="62" y="40"/>
                </a:cxn>
                <a:cxn ang="0">
                  <a:pos x="63" y="45"/>
                </a:cxn>
                <a:cxn ang="0">
                  <a:pos x="66" y="50"/>
                </a:cxn>
                <a:cxn ang="0">
                  <a:pos x="66" y="55"/>
                </a:cxn>
                <a:cxn ang="0">
                  <a:pos x="67" y="61"/>
                </a:cxn>
                <a:cxn ang="0">
                  <a:pos x="63" y="74"/>
                </a:cxn>
                <a:cxn ang="0">
                  <a:pos x="60" y="86"/>
                </a:cxn>
                <a:cxn ang="0">
                  <a:pos x="55" y="69"/>
                </a:cxn>
                <a:cxn ang="0">
                  <a:pos x="51" y="54"/>
                </a:cxn>
                <a:cxn ang="0">
                  <a:pos x="50" y="47"/>
                </a:cxn>
                <a:cxn ang="0">
                  <a:pos x="50" y="41"/>
                </a:cxn>
                <a:cxn ang="0">
                  <a:pos x="51" y="35"/>
                </a:cxn>
                <a:cxn ang="0">
                  <a:pos x="54" y="30"/>
                </a:cxn>
                <a:cxn ang="0">
                  <a:pos x="44" y="30"/>
                </a:cxn>
                <a:cxn ang="0">
                  <a:pos x="35" y="29"/>
                </a:cxn>
                <a:cxn ang="0">
                  <a:pos x="32" y="27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8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0" y="6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13"/>
                </a:cxn>
                <a:cxn ang="0">
                  <a:pos x="1" y="21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3" y="43"/>
                </a:cxn>
                <a:cxn ang="0">
                  <a:pos x="5" y="50"/>
                </a:cxn>
                <a:cxn ang="0">
                  <a:pos x="8" y="58"/>
                </a:cxn>
                <a:cxn ang="0">
                  <a:pos x="12" y="66"/>
                </a:cxn>
                <a:cxn ang="0">
                  <a:pos x="17" y="74"/>
                </a:cxn>
                <a:cxn ang="0">
                  <a:pos x="22" y="80"/>
                </a:cxn>
                <a:cxn ang="0">
                  <a:pos x="27" y="86"/>
                </a:cxn>
                <a:cxn ang="0">
                  <a:pos x="31" y="79"/>
                </a:cxn>
                <a:cxn ang="0">
                  <a:pos x="37" y="69"/>
                </a:cxn>
                <a:cxn ang="0">
                  <a:pos x="42" y="57"/>
                </a:cxn>
                <a:cxn ang="0">
                  <a:pos x="46" y="45"/>
                </a:cxn>
                <a:cxn ang="0">
                  <a:pos x="49" y="39"/>
                </a:cxn>
                <a:cxn ang="0">
                  <a:pos x="49" y="33"/>
                </a:cxn>
                <a:cxn ang="0">
                  <a:pos x="49" y="26"/>
                </a:cxn>
                <a:cxn ang="0">
                  <a:pos x="48" y="22"/>
                </a:cxn>
                <a:cxn ang="0">
                  <a:pos x="44" y="18"/>
                </a:cxn>
                <a:cxn ang="0">
                  <a:pos x="40" y="15"/>
                </a:cxn>
                <a:cxn ang="0">
                  <a:pos x="34" y="13"/>
                </a:cxn>
                <a:cxn ang="0">
                  <a:pos x="27" y="12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2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9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39" y="30"/>
                </a:cxn>
                <a:cxn ang="0">
                  <a:pos x="36" y="39"/>
                </a:cxn>
                <a:cxn ang="0">
                  <a:pos x="33" y="48"/>
                </a:cxn>
                <a:cxn ang="0">
                  <a:pos x="18" y="36"/>
                </a:cxn>
                <a:cxn ang="0">
                  <a:pos x="8" y="26"/>
                </a:cxn>
                <a:cxn ang="0">
                  <a:pos x="4" y="21"/>
                </a:cxn>
                <a:cxn ang="0">
                  <a:pos x="2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9"/>
                </a:cxn>
                <a:cxn ang="0">
                  <a:pos x="15" y="16"/>
                </a:cxn>
                <a:cxn ang="0">
                  <a:pos x="16" y="22"/>
                </a:cxn>
                <a:cxn ang="0">
                  <a:pos x="16" y="27"/>
                </a:cxn>
                <a:cxn ang="0">
                  <a:pos x="15" y="31"/>
                </a:cxn>
                <a:cxn ang="0">
                  <a:pos x="11" y="35"/>
                </a:cxn>
                <a:cxn ang="0">
                  <a:pos x="7" y="39"/>
                </a:cxn>
                <a:cxn ang="0">
                  <a:pos x="0" y="43"/>
                </a:cxn>
                <a:cxn ang="0">
                  <a:pos x="2" y="28"/>
                </a:cxn>
                <a:cxn ang="0">
                  <a:pos x="4" y="18"/>
                </a:cxn>
                <a:cxn ang="0">
                  <a:pos x="6" y="9"/>
                </a:cxn>
                <a:cxn ang="0">
                  <a:pos x="7" y="0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19" y="27"/>
                </a:cxn>
                <a:cxn ang="0">
                  <a:pos x="15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6" y="10"/>
                </a:cxn>
                <a:cxn ang="0">
                  <a:pos x="3" y="19"/>
                </a:cxn>
                <a:cxn ang="0">
                  <a:pos x="1" y="26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2" y="35"/>
                </a:cxn>
                <a:cxn ang="0">
                  <a:pos x="4" y="36"/>
                </a:cxn>
                <a:cxn ang="0">
                  <a:pos x="6" y="37"/>
                </a:cxn>
                <a:cxn ang="0">
                  <a:pos x="14" y="37"/>
                </a:cxn>
                <a:cxn ang="0">
                  <a:pos x="24" y="36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13"/>
                </a:cxn>
                <a:cxn ang="0">
                  <a:pos x="34" y="25"/>
                </a:cxn>
                <a:cxn ang="0">
                  <a:pos x="33" y="32"/>
                </a:cxn>
                <a:cxn ang="0">
                  <a:pos x="31" y="38"/>
                </a:cxn>
                <a:cxn ang="0">
                  <a:pos x="29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14" y="53"/>
                </a:cxn>
                <a:cxn ang="0">
                  <a:pos x="8" y="55"/>
                </a:cxn>
                <a:cxn ang="0">
                  <a:pos x="0" y="55"/>
                </a:cxn>
                <a:cxn ang="0">
                  <a:pos x="9" y="36"/>
                </a:cxn>
                <a:cxn ang="0">
                  <a:pos x="14" y="21"/>
                </a:cxn>
                <a:cxn ang="0">
                  <a:pos x="18" y="16"/>
                </a:cxn>
                <a:cxn ang="0">
                  <a:pos x="22" y="10"/>
                </a:cxn>
                <a:cxn ang="0">
                  <a:pos x="28" y="5"/>
                </a:cxn>
                <a:cxn ang="0">
                  <a:pos x="34" y="0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7"/>
                </a:cxn>
                <a:cxn ang="0">
                  <a:pos x="10" y="9"/>
                </a:cxn>
                <a:cxn ang="0">
                  <a:pos x="14" y="11"/>
                </a:cxn>
                <a:cxn ang="0">
                  <a:pos x="23" y="12"/>
                </a:cxn>
                <a:cxn ang="0">
                  <a:pos x="33" y="12"/>
                </a:cxn>
                <a:cxn ang="0">
                  <a:pos x="28" y="8"/>
                </a:cxn>
                <a:cxn ang="0">
                  <a:pos x="19" y="4"/>
                </a:cxn>
                <a:cxn ang="0">
                  <a:pos x="10" y="1"/>
                </a:cxn>
                <a:cxn ang="0">
                  <a:pos x="0" y="0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0" y="53"/>
              </a:cxn>
              <a:cxn ang="0">
                <a:pos x="0" y="45"/>
              </a:cxn>
              <a:cxn ang="0">
                <a:pos x="0" y="37"/>
              </a:cxn>
              <a:cxn ang="0">
                <a:pos x="0" y="31"/>
              </a:cxn>
              <a:cxn ang="0">
                <a:pos x="0" y="26"/>
              </a:cxn>
              <a:cxn ang="0">
                <a:pos x="2" y="22"/>
              </a:cxn>
              <a:cxn ang="0">
                <a:pos x="4" y="17"/>
              </a:cxn>
              <a:cxn ang="0">
                <a:pos x="8" y="13"/>
              </a:cxn>
              <a:cxn ang="0">
                <a:pos x="14" y="6"/>
              </a:cxn>
              <a:cxn ang="0">
                <a:pos x="20" y="0"/>
              </a:cxn>
              <a:cxn ang="0">
                <a:pos x="26" y="6"/>
              </a:cxn>
              <a:cxn ang="0">
                <a:pos x="33" y="13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26" y="0"/>
              </a:cxn>
              <a:cxn ang="0">
                <a:pos x="6" y="12"/>
              </a:cxn>
              <a:cxn ang="0">
                <a:pos x="6" y="6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/>
            <a:ahLst/>
            <a:cxnLst>
              <a:cxn ang="0">
                <a:pos x="180" y="222"/>
              </a:cxn>
              <a:cxn ang="0">
                <a:pos x="175" y="223"/>
              </a:cxn>
              <a:cxn ang="0">
                <a:pos x="171" y="223"/>
              </a:cxn>
              <a:cxn ang="0">
                <a:pos x="167" y="225"/>
              </a:cxn>
              <a:cxn ang="0">
                <a:pos x="164" y="227"/>
              </a:cxn>
              <a:cxn ang="0">
                <a:pos x="158" y="232"/>
              </a:cxn>
              <a:cxn ang="0">
                <a:pos x="153" y="240"/>
              </a:cxn>
              <a:cxn ang="0">
                <a:pos x="140" y="232"/>
              </a:cxn>
              <a:cxn ang="0">
                <a:pos x="131" y="223"/>
              </a:cxn>
              <a:cxn ang="0">
                <a:pos x="123" y="214"/>
              </a:cxn>
              <a:cxn ang="0">
                <a:pos x="118" y="206"/>
              </a:cxn>
              <a:cxn ang="0">
                <a:pos x="112" y="195"/>
              </a:cxn>
              <a:cxn ang="0">
                <a:pos x="106" y="185"/>
              </a:cxn>
              <a:cxn ang="0">
                <a:pos x="98" y="174"/>
              </a:cxn>
              <a:cxn ang="0">
                <a:pos x="87" y="161"/>
              </a:cxn>
              <a:cxn ang="0">
                <a:pos x="82" y="153"/>
              </a:cxn>
              <a:cxn ang="0">
                <a:pos x="75" y="146"/>
              </a:cxn>
              <a:cxn ang="0">
                <a:pos x="70" y="139"/>
              </a:cxn>
              <a:cxn ang="0">
                <a:pos x="62" y="133"/>
              </a:cxn>
              <a:cxn ang="0">
                <a:pos x="48" y="121"/>
              </a:cxn>
              <a:cxn ang="0">
                <a:pos x="33" y="110"/>
              </a:cxn>
              <a:cxn ang="0">
                <a:pos x="27" y="104"/>
              </a:cxn>
              <a:cxn ang="0">
                <a:pos x="21" y="98"/>
              </a:cxn>
              <a:cxn ang="0">
                <a:pos x="15" y="92"/>
              </a:cxn>
              <a:cxn ang="0">
                <a:pos x="10" y="84"/>
              </a:cxn>
              <a:cxn ang="0">
                <a:pos x="6" y="77"/>
              </a:cxn>
              <a:cxn ang="0">
                <a:pos x="4" y="68"/>
              </a:cxn>
              <a:cxn ang="0">
                <a:pos x="1" y="60"/>
              </a:cxn>
              <a:cxn ang="0">
                <a:pos x="0" y="50"/>
              </a:cxn>
              <a:cxn ang="0">
                <a:pos x="0" y="35"/>
              </a:cxn>
              <a:cxn ang="0">
                <a:pos x="0" y="25"/>
              </a:cxn>
              <a:cxn ang="0">
                <a:pos x="0" y="15"/>
              </a:cxn>
              <a:cxn ang="0">
                <a:pos x="0" y="0"/>
              </a:cxn>
              <a:cxn ang="0">
                <a:pos x="10" y="8"/>
              </a:cxn>
              <a:cxn ang="0">
                <a:pos x="19" y="17"/>
              </a:cxn>
              <a:cxn ang="0">
                <a:pos x="27" y="27"/>
              </a:cxn>
              <a:cxn ang="0">
                <a:pos x="34" y="38"/>
              </a:cxn>
              <a:cxn ang="0">
                <a:pos x="41" y="48"/>
              </a:cxn>
              <a:cxn ang="0">
                <a:pos x="46" y="58"/>
              </a:cxn>
              <a:cxn ang="0">
                <a:pos x="51" y="66"/>
              </a:cxn>
              <a:cxn ang="0">
                <a:pos x="54" y="74"/>
              </a:cxn>
              <a:cxn ang="0">
                <a:pos x="60" y="86"/>
              </a:cxn>
              <a:cxn ang="0">
                <a:pos x="66" y="98"/>
              </a:cxn>
              <a:cxn ang="0">
                <a:pos x="74" y="107"/>
              </a:cxn>
              <a:cxn ang="0">
                <a:pos x="82" y="116"/>
              </a:cxn>
              <a:cxn ang="0">
                <a:pos x="100" y="133"/>
              </a:cxn>
              <a:cxn ang="0">
                <a:pos x="119" y="149"/>
              </a:cxn>
              <a:cxn ang="0">
                <a:pos x="139" y="164"/>
              </a:cxn>
              <a:cxn ang="0">
                <a:pos x="155" y="180"/>
              </a:cxn>
              <a:cxn ang="0">
                <a:pos x="163" y="189"/>
              </a:cxn>
              <a:cxn ang="0">
                <a:pos x="169" y="199"/>
              </a:cxn>
              <a:cxn ang="0">
                <a:pos x="175" y="210"/>
              </a:cxn>
              <a:cxn ang="0">
                <a:pos x="180" y="222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11"/>
              </a:cxn>
              <a:cxn ang="0">
                <a:pos x="4" y="14"/>
              </a:cxn>
              <a:cxn ang="0">
                <a:pos x="4" y="19"/>
              </a:cxn>
              <a:cxn ang="0">
                <a:pos x="3" y="24"/>
              </a:cxn>
              <a:cxn ang="0">
                <a:pos x="0" y="30"/>
              </a:cxn>
              <a:cxn ang="0">
                <a:pos x="17" y="27"/>
              </a:cxn>
              <a:cxn ang="0">
                <a:pos x="27" y="24"/>
              </a:cxn>
              <a:cxn ang="0">
                <a:pos x="23" y="20"/>
              </a:cxn>
              <a:cxn ang="0">
                <a:pos x="17" y="12"/>
              </a:cxn>
              <a:cxn ang="0">
                <a:pos x="11" y="8"/>
              </a:cxn>
              <a:cxn ang="0">
                <a:pos x="7" y="4"/>
              </a:cxn>
              <a:cxn ang="0">
                <a:pos x="4" y="1"/>
              </a:cxn>
              <a:cxn ang="0">
                <a:pos x="0" y="0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  <a:solidFill>
            <a:srgbClr val="00B050"/>
          </a:solidFill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26"/>
                </a:cxn>
                <a:cxn ang="0">
                  <a:pos x="8" y="21"/>
                </a:cxn>
                <a:cxn ang="0">
                  <a:pos x="15" y="16"/>
                </a:cxn>
                <a:cxn ang="0">
                  <a:pos x="21" y="11"/>
                </a:cxn>
                <a:cxn ang="0">
                  <a:pos x="29" y="7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53" y="0"/>
                </a:cxn>
                <a:cxn ang="0">
                  <a:pos x="53" y="18"/>
                </a:cxn>
                <a:cxn ang="0">
                  <a:pos x="38" y="24"/>
                </a:cxn>
                <a:cxn ang="0">
                  <a:pos x="27" y="30"/>
                </a:cxn>
                <a:cxn ang="0">
                  <a:pos x="21" y="32"/>
                </a:cxn>
                <a:cxn ang="0">
                  <a:pos x="16" y="33"/>
                </a:cxn>
                <a:cxn ang="0">
                  <a:pos x="9" y="33"/>
                </a:cxn>
                <a:cxn ang="0">
                  <a:pos x="0" y="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/>
              <a:ahLst/>
              <a:cxnLst>
                <a:cxn ang="0">
                  <a:pos x="24" y="296"/>
                </a:cxn>
                <a:cxn ang="0">
                  <a:pos x="50" y="290"/>
                </a:cxn>
                <a:cxn ang="0">
                  <a:pos x="65" y="277"/>
                </a:cxn>
                <a:cxn ang="0">
                  <a:pos x="79" y="253"/>
                </a:cxn>
                <a:cxn ang="0">
                  <a:pos x="100" y="256"/>
                </a:cxn>
                <a:cxn ang="0">
                  <a:pos x="126" y="253"/>
                </a:cxn>
                <a:cxn ang="0">
                  <a:pos x="141" y="247"/>
                </a:cxn>
                <a:cxn ang="0">
                  <a:pos x="162" y="229"/>
                </a:cxn>
                <a:cxn ang="0">
                  <a:pos x="180" y="208"/>
                </a:cxn>
                <a:cxn ang="0">
                  <a:pos x="211" y="192"/>
                </a:cxn>
                <a:cxn ang="0">
                  <a:pos x="260" y="175"/>
                </a:cxn>
                <a:cxn ang="0">
                  <a:pos x="329" y="152"/>
                </a:cxn>
                <a:cxn ang="0">
                  <a:pos x="361" y="137"/>
                </a:cxn>
                <a:cxn ang="0">
                  <a:pos x="392" y="130"/>
                </a:cxn>
                <a:cxn ang="0">
                  <a:pos x="406" y="127"/>
                </a:cxn>
                <a:cxn ang="0">
                  <a:pos x="440" y="107"/>
                </a:cxn>
                <a:cxn ang="0">
                  <a:pos x="469" y="80"/>
                </a:cxn>
                <a:cxn ang="0">
                  <a:pos x="478" y="63"/>
                </a:cxn>
                <a:cxn ang="0">
                  <a:pos x="504" y="58"/>
                </a:cxn>
                <a:cxn ang="0">
                  <a:pos x="537" y="36"/>
                </a:cxn>
                <a:cxn ang="0">
                  <a:pos x="568" y="11"/>
                </a:cxn>
                <a:cxn ang="0">
                  <a:pos x="591" y="0"/>
                </a:cxn>
                <a:cxn ang="0">
                  <a:pos x="602" y="22"/>
                </a:cxn>
                <a:cxn ang="0">
                  <a:pos x="617" y="30"/>
                </a:cxn>
                <a:cxn ang="0">
                  <a:pos x="625" y="46"/>
                </a:cxn>
                <a:cxn ang="0">
                  <a:pos x="601" y="88"/>
                </a:cxn>
                <a:cxn ang="0">
                  <a:pos x="568" y="125"/>
                </a:cxn>
                <a:cxn ang="0">
                  <a:pos x="529" y="154"/>
                </a:cxn>
                <a:cxn ang="0">
                  <a:pos x="487" y="173"/>
                </a:cxn>
                <a:cxn ang="0">
                  <a:pos x="445" y="180"/>
                </a:cxn>
                <a:cxn ang="0">
                  <a:pos x="438" y="197"/>
                </a:cxn>
                <a:cxn ang="0">
                  <a:pos x="433" y="200"/>
                </a:cxn>
                <a:cxn ang="0">
                  <a:pos x="395" y="199"/>
                </a:cxn>
                <a:cxn ang="0">
                  <a:pos x="367" y="210"/>
                </a:cxn>
                <a:cxn ang="0">
                  <a:pos x="347" y="212"/>
                </a:cxn>
                <a:cxn ang="0">
                  <a:pos x="338" y="204"/>
                </a:cxn>
                <a:cxn ang="0">
                  <a:pos x="313" y="241"/>
                </a:cxn>
                <a:cxn ang="0">
                  <a:pos x="272" y="280"/>
                </a:cxn>
                <a:cxn ang="0">
                  <a:pos x="220" y="315"/>
                </a:cxn>
                <a:cxn ang="0">
                  <a:pos x="164" y="343"/>
                </a:cxn>
                <a:cxn ang="0">
                  <a:pos x="110" y="357"/>
                </a:cxn>
                <a:cxn ang="0">
                  <a:pos x="71" y="356"/>
                </a:cxn>
                <a:cxn ang="0">
                  <a:pos x="56" y="348"/>
                </a:cxn>
                <a:cxn ang="0">
                  <a:pos x="33" y="340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/>
              <a:ahLst/>
              <a:cxnLst>
                <a:cxn ang="0">
                  <a:pos x="60" y="288"/>
                </a:cxn>
                <a:cxn ang="0">
                  <a:pos x="95" y="269"/>
                </a:cxn>
                <a:cxn ang="0">
                  <a:pos x="165" y="209"/>
                </a:cxn>
                <a:cxn ang="0">
                  <a:pos x="172" y="168"/>
                </a:cxn>
                <a:cxn ang="0">
                  <a:pos x="180" y="149"/>
                </a:cxn>
                <a:cxn ang="0">
                  <a:pos x="193" y="137"/>
                </a:cxn>
                <a:cxn ang="0">
                  <a:pos x="190" y="126"/>
                </a:cxn>
                <a:cxn ang="0">
                  <a:pos x="179" y="94"/>
                </a:cxn>
                <a:cxn ang="0">
                  <a:pos x="173" y="34"/>
                </a:cxn>
                <a:cxn ang="0">
                  <a:pos x="182" y="0"/>
                </a:cxn>
                <a:cxn ang="0">
                  <a:pos x="194" y="11"/>
                </a:cxn>
                <a:cxn ang="0">
                  <a:pos x="207" y="29"/>
                </a:cxn>
                <a:cxn ang="0">
                  <a:pos x="231" y="56"/>
                </a:cxn>
                <a:cxn ang="0">
                  <a:pos x="238" y="73"/>
                </a:cxn>
                <a:cxn ang="0">
                  <a:pos x="237" y="88"/>
                </a:cxn>
                <a:cxn ang="0">
                  <a:pos x="226" y="102"/>
                </a:cxn>
                <a:cxn ang="0">
                  <a:pos x="205" y="120"/>
                </a:cxn>
                <a:cxn ang="0">
                  <a:pos x="199" y="131"/>
                </a:cxn>
                <a:cxn ang="0">
                  <a:pos x="199" y="149"/>
                </a:cxn>
                <a:cxn ang="0">
                  <a:pos x="205" y="159"/>
                </a:cxn>
                <a:cxn ang="0">
                  <a:pos x="226" y="160"/>
                </a:cxn>
                <a:cxn ang="0">
                  <a:pos x="233" y="153"/>
                </a:cxn>
                <a:cxn ang="0">
                  <a:pos x="232" y="135"/>
                </a:cxn>
                <a:cxn ang="0">
                  <a:pos x="259" y="193"/>
                </a:cxn>
                <a:cxn ang="0">
                  <a:pos x="271" y="208"/>
                </a:cxn>
                <a:cxn ang="0">
                  <a:pos x="291" y="219"/>
                </a:cxn>
                <a:cxn ang="0">
                  <a:pos x="300" y="217"/>
                </a:cxn>
                <a:cxn ang="0">
                  <a:pos x="312" y="206"/>
                </a:cxn>
                <a:cxn ang="0">
                  <a:pos x="341" y="194"/>
                </a:cxn>
                <a:cxn ang="0">
                  <a:pos x="355" y="206"/>
                </a:cxn>
                <a:cxn ang="0">
                  <a:pos x="342" y="240"/>
                </a:cxn>
                <a:cxn ang="0">
                  <a:pos x="321" y="261"/>
                </a:cxn>
                <a:cxn ang="0">
                  <a:pos x="295" y="275"/>
                </a:cxn>
                <a:cxn ang="0">
                  <a:pos x="247" y="288"/>
                </a:cxn>
                <a:cxn ang="0">
                  <a:pos x="208" y="299"/>
                </a:cxn>
                <a:cxn ang="0">
                  <a:pos x="193" y="308"/>
                </a:cxn>
                <a:cxn ang="0">
                  <a:pos x="179" y="339"/>
                </a:cxn>
                <a:cxn ang="0">
                  <a:pos x="163" y="356"/>
                </a:cxn>
                <a:cxn ang="0">
                  <a:pos x="109" y="394"/>
                </a:cxn>
                <a:cxn ang="0">
                  <a:pos x="48" y="424"/>
                </a:cxn>
                <a:cxn ang="0">
                  <a:pos x="19" y="431"/>
                </a:cxn>
                <a:cxn ang="0">
                  <a:pos x="7" y="426"/>
                </a:cxn>
                <a:cxn ang="0">
                  <a:pos x="1" y="415"/>
                </a:cxn>
                <a:cxn ang="0">
                  <a:pos x="1" y="402"/>
                </a:cxn>
                <a:cxn ang="0">
                  <a:pos x="9" y="391"/>
                </a:cxn>
                <a:cxn ang="0">
                  <a:pos x="56" y="374"/>
                </a:cxn>
                <a:cxn ang="0">
                  <a:pos x="73" y="351"/>
                </a:cxn>
                <a:cxn ang="0">
                  <a:pos x="71" y="335"/>
                </a:cxn>
                <a:cxn ang="0">
                  <a:pos x="64" y="326"/>
                </a:cxn>
                <a:cxn ang="0">
                  <a:pos x="51" y="320"/>
                </a:cxn>
                <a:cxn ang="0">
                  <a:pos x="19" y="320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29"/>
              </a:cxn>
              <a:cxn ang="0">
                <a:pos x="3" y="17"/>
              </a:cxn>
              <a:cxn ang="0">
                <a:pos x="4" y="11"/>
              </a:cxn>
              <a:cxn ang="0">
                <a:pos x="6" y="7"/>
              </a:cxn>
              <a:cxn ang="0">
                <a:pos x="9" y="3"/>
              </a:cxn>
              <a:cxn ang="0">
                <a:pos x="15" y="0"/>
              </a:cxn>
              <a:cxn ang="0">
                <a:pos x="15" y="15"/>
              </a:cxn>
              <a:cxn ang="0">
                <a:pos x="18" y="31"/>
              </a:cxn>
              <a:cxn ang="0">
                <a:pos x="20" y="44"/>
              </a:cxn>
              <a:cxn ang="0">
                <a:pos x="21" y="49"/>
              </a:cxn>
              <a:cxn ang="0">
                <a:pos x="10" y="55"/>
              </a:cxn>
              <a:cxn ang="0">
                <a:pos x="0" y="62"/>
              </a:cxn>
              <a:cxn ang="0">
                <a:pos x="0" y="43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5"/>
              </a:cxn>
              <a:cxn ang="0">
                <a:pos x="10" y="10"/>
              </a:cxn>
              <a:cxn ang="0">
                <a:pos x="11" y="13"/>
              </a:cxn>
              <a:cxn ang="0">
                <a:pos x="12" y="16"/>
              </a:cxn>
              <a:cxn ang="0">
                <a:pos x="13" y="20"/>
              </a:cxn>
              <a:cxn ang="0">
                <a:pos x="13" y="24"/>
              </a:cxn>
              <a:cxn ang="0">
                <a:pos x="33" y="0"/>
              </a:cxn>
              <a:cxn ang="0">
                <a:pos x="24" y="0"/>
              </a:cxn>
              <a:cxn ang="0">
                <a:pos x="16" y="0"/>
              </a:cxn>
              <a:cxn ang="0">
                <a:pos x="9" y="0"/>
              </a:cxn>
              <a:cxn ang="0">
                <a:pos x="0" y="0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/>
            <a:ahLst/>
            <a:cxnLst>
              <a:cxn ang="0">
                <a:pos x="26" y="25"/>
              </a:cxn>
              <a:cxn ang="0">
                <a:pos x="29" y="22"/>
              </a:cxn>
              <a:cxn ang="0">
                <a:pos x="33" y="18"/>
              </a:cxn>
              <a:cxn ang="0">
                <a:pos x="33" y="0"/>
              </a:cxn>
              <a:cxn ang="0">
                <a:pos x="25" y="0"/>
              </a:cxn>
              <a:cxn ang="0">
                <a:pos x="16" y="0"/>
              </a:cxn>
              <a:cxn ang="0">
                <a:pos x="6" y="0"/>
              </a:cxn>
              <a:cxn ang="0">
                <a:pos x="0" y="0"/>
              </a:cxn>
              <a:cxn ang="0">
                <a:pos x="26" y="25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6"/>
              </a:cxn>
              <a:cxn ang="0">
                <a:pos x="14" y="13"/>
              </a:cxn>
              <a:cxn ang="0">
                <a:pos x="13" y="16"/>
              </a:cxn>
              <a:cxn ang="0">
                <a:pos x="11" y="20"/>
              </a:cxn>
              <a:cxn ang="0">
                <a:pos x="7" y="23"/>
              </a:cxn>
              <a:cxn ang="0">
                <a:pos x="3" y="25"/>
              </a:cxn>
              <a:cxn ang="0">
                <a:pos x="1" y="24"/>
              </a:cxn>
              <a:cxn ang="0">
                <a:pos x="0" y="21"/>
              </a:cxn>
              <a:cxn ang="0">
                <a:pos x="1" y="18"/>
              </a:cxn>
              <a:cxn ang="0">
                <a:pos x="2" y="13"/>
              </a:cxn>
              <a:cxn ang="0">
                <a:pos x="4" y="9"/>
              </a:cxn>
              <a:cxn ang="0">
                <a:pos x="7" y="4"/>
              </a:cxn>
              <a:cxn ang="0">
                <a:pos x="11" y="1"/>
              </a:cxn>
              <a:cxn ang="0">
                <a:pos x="16" y="0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5" y="2"/>
              </a:cxn>
              <a:cxn ang="0">
                <a:pos x="7" y="4"/>
              </a:cxn>
              <a:cxn ang="0">
                <a:pos x="9" y="7"/>
              </a:cxn>
              <a:cxn ang="0">
                <a:pos x="13" y="13"/>
              </a:cxn>
              <a:cxn ang="0">
                <a:pos x="14" y="18"/>
              </a:cxn>
              <a:cxn ang="0">
                <a:pos x="0" y="0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7"/>
              </a:cxn>
              <a:cxn ang="0">
                <a:pos x="3" y="30"/>
              </a:cxn>
              <a:cxn ang="0">
                <a:pos x="7" y="41"/>
              </a:cxn>
              <a:cxn ang="0">
                <a:pos x="12" y="50"/>
              </a:cxn>
              <a:cxn ang="0">
                <a:pos x="17" y="58"/>
              </a:cxn>
              <a:cxn ang="0">
                <a:pos x="23" y="64"/>
              </a:cxn>
              <a:cxn ang="0">
                <a:pos x="28" y="69"/>
              </a:cxn>
              <a:cxn ang="0">
                <a:pos x="33" y="74"/>
              </a:cxn>
              <a:cxn ang="0">
                <a:pos x="44" y="65"/>
              </a:cxn>
              <a:cxn ang="0">
                <a:pos x="55" y="55"/>
              </a:cxn>
              <a:cxn ang="0">
                <a:pos x="59" y="49"/>
              </a:cxn>
              <a:cxn ang="0">
                <a:pos x="63" y="43"/>
              </a:cxn>
              <a:cxn ang="0">
                <a:pos x="66" y="37"/>
              </a:cxn>
              <a:cxn ang="0">
                <a:pos x="67" y="30"/>
              </a:cxn>
              <a:cxn ang="0">
                <a:pos x="67" y="25"/>
              </a:cxn>
              <a:cxn ang="0">
                <a:pos x="67" y="18"/>
              </a:cxn>
              <a:cxn ang="0">
                <a:pos x="67" y="9"/>
              </a:cxn>
              <a:cxn ang="0">
                <a:pos x="67" y="0"/>
              </a:cxn>
              <a:cxn ang="0">
                <a:pos x="48" y="0"/>
              </a:cxn>
              <a:cxn ang="0">
                <a:pos x="33" y="0"/>
              </a:cxn>
              <a:cxn ang="0">
                <a:pos x="17" y="0"/>
              </a:cxn>
              <a:cxn ang="0">
                <a:pos x="0" y="0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3"/>
              </a:cxn>
              <a:cxn ang="0">
                <a:pos x="4" y="7"/>
              </a:cxn>
              <a:cxn ang="0">
                <a:pos x="5" y="11"/>
              </a:cxn>
              <a:cxn ang="0">
                <a:pos x="6" y="16"/>
              </a:cxn>
              <a:cxn ang="0">
                <a:pos x="10" y="28"/>
              </a:cxn>
              <a:cxn ang="0">
                <a:pos x="13" y="38"/>
              </a:cxn>
              <a:cxn ang="0">
                <a:pos x="16" y="37"/>
              </a:cxn>
              <a:cxn ang="0">
                <a:pos x="20" y="36"/>
              </a:cxn>
              <a:cxn ang="0">
                <a:pos x="23" y="34"/>
              </a:cxn>
              <a:cxn ang="0">
                <a:pos x="26" y="31"/>
              </a:cxn>
              <a:cxn ang="0">
                <a:pos x="28" y="28"/>
              </a:cxn>
              <a:cxn ang="0">
                <a:pos x="32" y="24"/>
              </a:cxn>
              <a:cxn ang="0">
                <a:pos x="33" y="21"/>
              </a:cxn>
              <a:cxn ang="0">
                <a:pos x="34" y="19"/>
              </a:cxn>
              <a:cxn ang="0">
                <a:pos x="31" y="18"/>
              </a:cxn>
              <a:cxn ang="0">
                <a:pos x="28" y="17"/>
              </a:cxn>
              <a:cxn ang="0">
                <a:pos x="26" y="14"/>
              </a:cxn>
              <a:cxn ang="0">
                <a:pos x="24" y="12"/>
              </a:cxn>
              <a:cxn ang="0">
                <a:pos x="19" y="6"/>
              </a:cxn>
              <a:cxn ang="0">
                <a:pos x="13" y="0"/>
              </a:cxn>
              <a:cxn ang="0">
                <a:pos x="6" y="0"/>
              </a:cxn>
              <a:cxn ang="0">
                <a:pos x="0" y="0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/>
            <a:ahLst/>
            <a:cxnLst>
              <a:cxn ang="0">
                <a:pos x="53" y="23"/>
              </a:cxn>
              <a:cxn ang="0">
                <a:pos x="53" y="4"/>
              </a:cxn>
              <a:cxn ang="0">
                <a:pos x="49" y="2"/>
              </a:cxn>
              <a:cxn ang="0">
                <a:pos x="45" y="1"/>
              </a:cxn>
              <a:cxn ang="0">
                <a:pos x="42" y="0"/>
              </a:cxn>
              <a:cxn ang="0">
                <a:pos x="38" y="0"/>
              </a:cxn>
              <a:cxn ang="0">
                <a:pos x="31" y="1"/>
              </a:cxn>
              <a:cxn ang="0">
                <a:pos x="24" y="4"/>
              </a:cxn>
              <a:cxn ang="0">
                <a:pos x="11" y="13"/>
              </a:cxn>
              <a:cxn ang="0">
                <a:pos x="0" y="23"/>
              </a:cxn>
              <a:cxn ang="0">
                <a:pos x="53" y="23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4"/>
              </a:cxn>
              <a:cxn ang="0">
                <a:pos x="11" y="8"/>
              </a:cxn>
              <a:cxn ang="0">
                <a:pos x="14" y="9"/>
              </a:cxn>
              <a:cxn ang="0">
                <a:pos x="18" y="11"/>
              </a:cxn>
              <a:cxn ang="0">
                <a:pos x="22" y="11"/>
              </a:cxn>
              <a:cxn ang="0">
                <a:pos x="26" y="12"/>
              </a:cxn>
              <a:cxn ang="0">
                <a:pos x="21" y="7"/>
              </a:cxn>
              <a:cxn ang="0">
                <a:pos x="13" y="3"/>
              </a:cxn>
              <a:cxn ang="0">
                <a:pos x="5" y="1"/>
              </a:cxn>
              <a:cxn ang="0">
                <a:pos x="0" y="0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37" y="0"/>
              </a:cxn>
              <a:cxn ang="0">
                <a:pos x="55" y="0"/>
              </a:cxn>
              <a:cxn ang="0">
                <a:pos x="73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0"/>
              </a:cxn>
              <a:cxn ang="0">
                <a:pos x="27" y="3"/>
              </a:cxn>
              <a:cxn ang="0">
                <a:pos x="32" y="3"/>
              </a:cxn>
              <a:cxn ang="0">
                <a:pos x="39" y="3"/>
              </a:cxn>
              <a:cxn ang="0">
                <a:pos x="45" y="1"/>
              </a:cxn>
              <a:cxn ang="0">
                <a:pos x="53" y="0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13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0"/>
              </a:cxn>
              <a:cxn ang="0">
                <a:pos x="26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3"/>
              </a:cxn>
              <a:cxn ang="0">
                <a:pos x="4" y="18"/>
              </a:cxn>
              <a:cxn ang="0">
                <a:pos x="10" y="21"/>
              </a:cxn>
              <a:cxn ang="0">
                <a:pos x="14" y="24"/>
              </a:cxn>
              <a:cxn ang="0">
                <a:pos x="20" y="25"/>
              </a:cxn>
              <a:cxn ang="0">
                <a:pos x="20" y="0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0"/>
              </a:cxn>
              <a:cxn ang="0">
                <a:pos x="6" y="12"/>
              </a:cxn>
              <a:cxn ang="0">
                <a:pos x="0" y="24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6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8" y="20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" y="7"/>
                </a:cxn>
                <a:cxn ang="0">
                  <a:pos x="5" y="15"/>
                </a:cxn>
                <a:cxn ang="0">
                  <a:pos x="7" y="19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9" y="25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7" y="18"/>
                </a:cxn>
                <a:cxn ang="0">
                  <a:pos x="3" y="9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3" y="6"/>
                </a:cxn>
                <a:cxn ang="0">
                  <a:pos x="20" y="12"/>
                </a:cxn>
                <a:cxn ang="0">
                  <a:pos x="26" y="18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0"/>
                </a:cxn>
                <a:cxn ang="0">
                  <a:pos x="0" y="18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" y="23"/>
                </a:cxn>
                <a:cxn ang="0">
                  <a:pos x="7" y="22"/>
                </a:cxn>
                <a:cxn ang="0">
                  <a:pos x="11" y="19"/>
                </a:cxn>
                <a:cxn ang="0">
                  <a:pos x="16" y="16"/>
                </a:cxn>
                <a:cxn ang="0">
                  <a:pos x="20" y="13"/>
                </a:cxn>
                <a:cxn ang="0">
                  <a:pos x="23" y="9"/>
                </a:cxn>
                <a:cxn ang="0">
                  <a:pos x="25" y="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0" y="6"/>
                </a:cxn>
                <a:cxn ang="0">
                  <a:pos x="17" y="5"/>
                </a:cxn>
                <a:cxn ang="0">
                  <a:pos x="25" y="4"/>
                </a:cxn>
                <a:cxn ang="0">
                  <a:pos x="34" y="0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7" y="3"/>
                </a:cxn>
                <a:cxn ang="0">
                  <a:pos x="0" y="6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/>
            <a:ahLst/>
            <a:cxnLst>
              <a:cxn ang="0">
                <a:pos x="13" y="111"/>
              </a:cxn>
              <a:cxn ang="0">
                <a:pos x="9" y="103"/>
              </a:cxn>
              <a:cxn ang="0">
                <a:pos x="4" y="95"/>
              </a:cxn>
              <a:cxn ang="0">
                <a:pos x="2" y="91"/>
              </a:cxn>
              <a:cxn ang="0">
                <a:pos x="1" y="87"/>
              </a:cxn>
              <a:cxn ang="0">
                <a:pos x="0" y="80"/>
              </a:cxn>
              <a:cxn ang="0">
                <a:pos x="0" y="74"/>
              </a:cxn>
              <a:cxn ang="0">
                <a:pos x="0" y="61"/>
              </a:cxn>
              <a:cxn ang="0">
                <a:pos x="1" y="51"/>
              </a:cxn>
              <a:cxn ang="0">
                <a:pos x="3" y="41"/>
              </a:cxn>
              <a:cxn ang="0">
                <a:pos x="5" y="33"/>
              </a:cxn>
              <a:cxn ang="0">
                <a:pos x="9" y="24"/>
              </a:cxn>
              <a:cxn ang="0">
                <a:pos x="14" y="17"/>
              </a:cxn>
              <a:cxn ang="0">
                <a:pos x="20" y="9"/>
              </a:cxn>
              <a:cxn ang="0">
                <a:pos x="26" y="0"/>
              </a:cxn>
              <a:cxn ang="0">
                <a:pos x="26" y="6"/>
              </a:cxn>
              <a:cxn ang="0">
                <a:pos x="26" y="13"/>
              </a:cxn>
              <a:cxn ang="0">
                <a:pos x="26" y="22"/>
              </a:cxn>
              <a:cxn ang="0">
                <a:pos x="26" y="32"/>
              </a:cxn>
              <a:cxn ang="0">
                <a:pos x="25" y="44"/>
              </a:cxn>
              <a:cxn ang="0">
                <a:pos x="22" y="56"/>
              </a:cxn>
              <a:cxn ang="0">
                <a:pos x="18" y="67"/>
              </a:cxn>
              <a:cxn ang="0">
                <a:pos x="13" y="80"/>
              </a:cxn>
              <a:cxn ang="0">
                <a:pos x="13" y="111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11" y="20"/>
              </a:cxn>
              <a:cxn ang="0">
                <a:pos x="21" y="21"/>
              </a:cxn>
              <a:cxn ang="0">
                <a:pos x="29" y="23"/>
              </a:cxn>
              <a:cxn ang="0">
                <a:pos x="36" y="26"/>
              </a:cxn>
              <a:cxn ang="0">
                <a:pos x="50" y="33"/>
              </a:cxn>
              <a:cxn ang="0">
                <a:pos x="61" y="40"/>
              </a:cxn>
              <a:cxn ang="0">
                <a:pos x="70" y="48"/>
              </a:cxn>
              <a:cxn ang="0">
                <a:pos x="79" y="55"/>
              </a:cxn>
              <a:cxn ang="0">
                <a:pos x="84" y="58"/>
              </a:cxn>
              <a:cxn ang="0">
                <a:pos x="89" y="60"/>
              </a:cxn>
              <a:cxn ang="0">
                <a:pos x="95" y="61"/>
              </a:cxn>
              <a:cxn ang="0">
                <a:pos x="100" y="62"/>
              </a:cxn>
              <a:cxn ang="0">
                <a:pos x="105" y="61"/>
              </a:cxn>
              <a:cxn ang="0">
                <a:pos x="109" y="60"/>
              </a:cxn>
              <a:cxn ang="0">
                <a:pos x="113" y="58"/>
              </a:cxn>
              <a:cxn ang="0">
                <a:pos x="117" y="56"/>
              </a:cxn>
              <a:cxn ang="0">
                <a:pos x="122" y="51"/>
              </a:cxn>
              <a:cxn ang="0">
                <a:pos x="126" y="49"/>
              </a:cxn>
              <a:cxn ang="0">
                <a:pos x="110" y="33"/>
              </a:cxn>
              <a:cxn ang="0">
                <a:pos x="96" y="21"/>
              </a:cxn>
              <a:cxn ang="0">
                <a:pos x="89" y="15"/>
              </a:cxn>
              <a:cxn ang="0">
                <a:pos x="81" y="9"/>
              </a:cxn>
              <a:cxn ang="0">
                <a:pos x="72" y="5"/>
              </a:cxn>
              <a:cxn ang="0">
                <a:pos x="61" y="0"/>
              </a:cxn>
              <a:cxn ang="0">
                <a:pos x="0" y="0"/>
              </a:cxn>
              <a:cxn ang="0">
                <a:pos x="0" y="9"/>
              </a:cxn>
              <a:cxn ang="0">
                <a:pos x="0" y="19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"/>
              </a:cxn>
              <a:cxn ang="0">
                <a:pos x="23" y="2"/>
              </a:cxn>
              <a:cxn ang="0">
                <a:pos x="32" y="4"/>
              </a:cxn>
              <a:cxn ang="0">
                <a:pos x="38" y="7"/>
              </a:cxn>
              <a:cxn ang="0">
                <a:pos x="44" y="9"/>
              </a:cxn>
              <a:cxn ang="0">
                <a:pos x="50" y="11"/>
              </a:cxn>
              <a:cxn ang="0">
                <a:pos x="57" y="12"/>
              </a:cxn>
              <a:cxn ang="0">
                <a:pos x="66" y="13"/>
              </a:cxn>
              <a:cxn ang="0">
                <a:pos x="65" y="17"/>
              </a:cxn>
              <a:cxn ang="0">
                <a:pos x="62" y="21"/>
              </a:cxn>
              <a:cxn ang="0">
                <a:pos x="60" y="25"/>
              </a:cxn>
              <a:cxn ang="0">
                <a:pos x="57" y="28"/>
              </a:cxn>
              <a:cxn ang="0">
                <a:pos x="49" y="34"/>
              </a:cxn>
              <a:cxn ang="0">
                <a:pos x="40" y="39"/>
              </a:cxn>
              <a:cxn ang="0">
                <a:pos x="31" y="42"/>
              </a:cxn>
              <a:cxn ang="0">
                <a:pos x="21" y="44"/>
              </a:cxn>
              <a:cxn ang="0">
                <a:pos x="10" y="44"/>
              </a:cxn>
              <a:cxn ang="0">
                <a:pos x="0" y="43"/>
              </a:cxn>
              <a:cxn ang="0">
                <a:pos x="0" y="31"/>
              </a:cxn>
              <a:cxn ang="0">
                <a:pos x="0" y="22"/>
              </a:cxn>
              <a:cxn ang="0">
                <a:pos x="0" y="12"/>
              </a:cxn>
              <a:cxn ang="0">
                <a:pos x="0" y="0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0" y="7"/>
              </a:cxn>
              <a:cxn ang="0">
                <a:pos x="35" y="13"/>
              </a:cxn>
              <a:cxn ang="0">
                <a:pos x="31" y="14"/>
              </a:cxn>
              <a:cxn ang="0">
                <a:pos x="29" y="15"/>
              </a:cxn>
              <a:cxn ang="0">
                <a:pos x="26" y="16"/>
              </a:cxn>
              <a:cxn ang="0">
                <a:pos x="23" y="16"/>
              </a:cxn>
              <a:cxn ang="0">
                <a:pos x="16" y="14"/>
              </a:cxn>
              <a:cxn ang="0">
                <a:pos x="11" y="11"/>
              </a:cxn>
              <a:cxn ang="0">
                <a:pos x="5" y="6"/>
              </a:cxn>
              <a:cxn ang="0">
                <a:pos x="0" y="0"/>
              </a:cxn>
              <a:cxn ang="0">
                <a:pos x="46" y="0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36" y="26"/>
              </a:cxn>
              <a:cxn ang="0">
                <a:pos x="32" y="26"/>
              </a:cxn>
              <a:cxn ang="0">
                <a:pos x="28" y="26"/>
              </a:cxn>
              <a:cxn ang="0">
                <a:pos x="25" y="25"/>
              </a:cxn>
              <a:cxn ang="0">
                <a:pos x="18" y="22"/>
              </a:cxn>
              <a:cxn ang="0">
                <a:pos x="12" y="18"/>
              </a:cxn>
              <a:cxn ang="0">
                <a:pos x="7" y="13"/>
              </a:cxn>
              <a:cxn ang="0">
                <a:pos x="3" y="7"/>
              </a:cxn>
              <a:cxn ang="0">
                <a:pos x="1" y="3"/>
              </a:cxn>
              <a:cxn ang="0">
                <a:pos x="0" y="0"/>
              </a:cxn>
              <a:cxn ang="0">
                <a:pos x="11" y="6"/>
              </a:cxn>
              <a:cxn ang="0">
                <a:pos x="22" y="13"/>
              </a:cxn>
              <a:cxn ang="0">
                <a:pos x="33" y="20"/>
              </a:cxn>
              <a:cxn ang="0">
                <a:pos x="39" y="25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1" y="5"/>
              </a:cxn>
              <a:cxn ang="0">
                <a:pos x="10" y="12"/>
              </a:cxn>
              <a:cxn ang="0">
                <a:pos x="9" y="20"/>
              </a:cxn>
              <a:cxn ang="0">
                <a:pos x="4" y="25"/>
              </a:cxn>
              <a:cxn ang="0">
                <a:pos x="2" y="23"/>
              </a:cxn>
              <a:cxn ang="0">
                <a:pos x="1" y="20"/>
              </a:cxn>
              <a:cxn ang="0">
                <a:pos x="0" y="15"/>
              </a:cxn>
              <a:cxn ang="0">
                <a:pos x="0" y="12"/>
              </a:cxn>
              <a:cxn ang="0">
                <a:pos x="1" y="9"/>
              </a:cxn>
              <a:cxn ang="0">
                <a:pos x="3" y="5"/>
              </a:cxn>
              <a:cxn ang="0">
                <a:pos x="6" y="2"/>
              </a:cxn>
              <a:cxn ang="0">
                <a:pos x="11" y="0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6" y="12"/>
              </a:cxn>
              <a:cxn ang="0">
                <a:pos x="10" y="20"/>
              </a:cxn>
              <a:cxn ang="0">
                <a:pos x="5" y="26"/>
              </a:cxn>
              <a:cxn ang="0">
                <a:pos x="0" y="31"/>
              </a:cxn>
              <a:cxn ang="0">
                <a:pos x="0" y="25"/>
              </a:cxn>
              <a:cxn ang="0">
                <a:pos x="1" y="19"/>
              </a:cxn>
              <a:cxn ang="0">
                <a:pos x="2" y="13"/>
              </a:cxn>
              <a:cxn ang="0">
                <a:pos x="5" y="9"/>
              </a:cxn>
              <a:cxn ang="0">
                <a:pos x="8" y="6"/>
              </a:cxn>
              <a:cxn ang="0">
                <a:pos x="11" y="3"/>
              </a:cxn>
              <a:cxn ang="0">
                <a:pos x="16" y="0"/>
              </a:cxn>
              <a:cxn ang="0">
                <a:pos x="20" y="0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/>
            <a:ahLst/>
            <a:cxnLst>
              <a:cxn ang="0">
                <a:pos x="13" y="37"/>
              </a:cxn>
              <a:cxn ang="0">
                <a:pos x="0" y="12"/>
              </a:cxn>
              <a:cxn ang="0">
                <a:pos x="6" y="7"/>
              </a:cxn>
              <a:cxn ang="0">
                <a:pos x="13" y="4"/>
              </a:cxn>
              <a:cxn ang="0">
                <a:pos x="21" y="1"/>
              </a:cxn>
              <a:cxn ang="0">
                <a:pos x="26" y="0"/>
              </a:cxn>
              <a:cxn ang="0">
                <a:pos x="26" y="6"/>
              </a:cxn>
              <a:cxn ang="0">
                <a:pos x="25" y="11"/>
              </a:cxn>
              <a:cxn ang="0">
                <a:pos x="24" y="17"/>
              </a:cxn>
              <a:cxn ang="0">
                <a:pos x="23" y="21"/>
              </a:cxn>
              <a:cxn ang="0">
                <a:pos x="18" y="29"/>
              </a:cxn>
              <a:cxn ang="0">
                <a:pos x="13" y="37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7" y="12"/>
              </a:cxn>
              <a:cxn ang="0">
                <a:pos x="0" y="18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9" y="0"/>
              </a:cxn>
              <a:cxn ang="0">
                <a:pos x="24" y="5"/>
              </a:cxn>
              <a:cxn ang="0">
                <a:pos x="28" y="12"/>
              </a:cxn>
              <a:cxn ang="0">
                <a:pos x="32" y="22"/>
              </a:cxn>
              <a:cxn ang="0">
                <a:pos x="33" y="31"/>
              </a:cxn>
              <a:cxn ang="0">
                <a:pos x="27" y="30"/>
              </a:cxn>
              <a:cxn ang="0">
                <a:pos x="22" y="28"/>
              </a:cxn>
              <a:cxn ang="0">
                <a:pos x="16" y="25"/>
              </a:cxn>
              <a:cxn ang="0">
                <a:pos x="11" y="22"/>
              </a:cxn>
              <a:cxn ang="0">
                <a:pos x="3" y="15"/>
              </a:cxn>
              <a:cxn ang="0">
                <a:pos x="0" y="12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0" y="6"/>
              </a:cxn>
              <a:cxn ang="0">
                <a:pos x="14" y="0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0"/>
              </a:cxn>
              <a:cxn ang="0">
                <a:pos x="4" y="19"/>
              </a:cxn>
              <a:cxn ang="0">
                <a:pos x="2" y="28"/>
              </a:cxn>
              <a:cxn ang="0">
                <a:pos x="0" y="37"/>
              </a:cxn>
              <a:cxn ang="0">
                <a:pos x="0" y="42"/>
              </a:cxn>
              <a:cxn ang="0">
                <a:pos x="2" y="47"/>
              </a:cxn>
              <a:cxn ang="0">
                <a:pos x="3" y="51"/>
              </a:cxn>
              <a:cxn ang="0">
                <a:pos x="5" y="55"/>
              </a:cxn>
              <a:cxn ang="0">
                <a:pos x="7" y="58"/>
              </a:cxn>
              <a:cxn ang="0">
                <a:pos x="9" y="60"/>
              </a:cxn>
              <a:cxn ang="0">
                <a:pos x="13" y="62"/>
              </a:cxn>
              <a:cxn ang="0">
                <a:pos x="16" y="64"/>
              </a:cxn>
              <a:cxn ang="0">
                <a:pos x="22" y="67"/>
              </a:cxn>
              <a:cxn ang="0">
                <a:pos x="31" y="68"/>
              </a:cxn>
              <a:cxn ang="0">
                <a:pos x="39" y="68"/>
              </a:cxn>
              <a:cxn ang="0">
                <a:pos x="47" y="68"/>
              </a:cxn>
              <a:cxn ang="0">
                <a:pos x="41" y="58"/>
              </a:cxn>
              <a:cxn ang="0">
                <a:pos x="38" y="48"/>
              </a:cxn>
              <a:cxn ang="0">
                <a:pos x="36" y="43"/>
              </a:cxn>
              <a:cxn ang="0">
                <a:pos x="35" y="38"/>
              </a:cxn>
              <a:cxn ang="0">
                <a:pos x="33" y="31"/>
              </a:cxn>
              <a:cxn ang="0">
                <a:pos x="33" y="25"/>
              </a:cxn>
              <a:cxn ang="0">
                <a:pos x="24" y="13"/>
              </a:cxn>
              <a:cxn ang="0">
                <a:pos x="14" y="0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13" y="18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2"/>
                </a:cxn>
                <a:cxn ang="0">
                  <a:pos x="2" y="51"/>
                </a:cxn>
                <a:cxn ang="0">
                  <a:pos x="5" y="59"/>
                </a:cxn>
                <a:cxn ang="0">
                  <a:pos x="10" y="66"/>
                </a:cxn>
                <a:cxn ang="0">
                  <a:pos x="15" y="72"/>
                </a:cxn>
                <a:cxn ang="0">
                  <a:pos x="22" y="77"/>
                </a:cxn>
                <a:cxn ang="0">
                  <a:pos x="31" y="82"/>
                </a:cxn>
                <a:cxn ang="0">
                  <a:pos x="40" y="87"/>
                </a:cxn>
                <a:cxn ang="0">
                  <a:pos x="35" y="82"/>
                </a:cxn>
                <a:cxn ang="0">
                  <a:pos x="32" y="77"/>
                </a:cxn>
                <a:cxn ang="0">
                  <a:pos x="29" y="71"/>
                </a:cxn>
                <a:cxn ang="0">
                  <a:pos x="26" y="65"/>
                </a:cxn>
                <a:cxn ang="0">
                  <a:pos x="22" y="52"/>
                </a:cxn>
                <a:cxn ang="0">
                  <a:pos x="20" y="39"/>
                </a:cxn>
                <a:cxn ang="0">
                  <a:pos x="18" y="27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8" y="6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0" y="31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9" y="32"/>
                </a:cxn>
                <a:cxn ang="0">
                  <a:pos x="35" y="34"/>
                </a:cxn>
                <a:cxn ang="0">
                  <a:pos x="49" y="36"/>
                </a:cxn>
                <a:cxn ang="0">
                  <a:pos x="61" y="37"/>
                </a:cxn>
                <a:cxn ang="0">
                  <a:pos x="55" y="29"/>
                </a:cxn>
                <a:cxn ang="0">
                  <a:pos x="49" y="22"/>
                </a:cxn>
                <a:cxn ang="0">
                  <a:pos x="42" y="17"/>
                </a:cxn>
                <a:cxn ang="0">
                  <a:pos x="35" y="12"/>
                </a:cxn>
                <a:cxn ang="0">
                  <a:pos x="28" y="9"/>
                </a:cxn>
                <a:cxn ang="0">
                  <a:pos x="19" y="5"/>
                </a:cxn>
                <a:cxn ang="0">
                  <a:pos x="10" y="2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/>
              <a:ahLst/>
              <a:cxnLst>
                <a:cxn ang="0">
                  <a:pos x="40" y="30"/>
                </a:cxn>
                <a:cxn ang="0">
                  <a:pos x="33" y="28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5" y="19"/>
                </a:cxn>
                <a:cxn ang="0">
                  <a:pos x="11" y="16"/>
                </a:cxn>
                <a:cxn ang="0">
                  <a:pos x="6" y="11"/>
                </a:cxn>
                <a:cxn ang="0">
                  <a:pos x="3" y="6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5" y="6"/>
                </a:cxn>
                <a:cxn ang="0">
                  <a:pos x="22" y="10"/>
                </a:cxn>
                <a:cxn ang="0">
                  <a:pos x="27" y="15"/>
                </a:cxn>
                <a:cxn ang="0">
                  <a:pos x="33" y="19"/>
                </a:cxn>
                <a:cxn ang="0">
                  <a:pos x="36" y="23"/>
                </a:cxn>
                <a:cxn ang="0">
                  <a:pos x="39" y="27"/>
                </a:cxn>
                <a:cxn ang="0">
                  <a:pos x="40" y="30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72" y="73"/>
                </a:cxn>
                <a:cxn ang="0">
                  <a:pos x="71" y="66"/>
                </a:cxn>
                <a:cxn ang="0">
                  <a:pos x="69" y="60"/>
                </a:cxn>
                <a:cxn ang="0">
                  <a:pos x="66" y="53"/>
                </a:cxn>
                <a:cxn ang="0">
                  <a:pos x="58" y="42"/>
                </a:cxn>
                <a:cxn ang="0">
                  <a:pos x="48" y="33"/>
                </a:cxn>
                <a:cxn ang="0">
                  <a:pos x="38" y="25"/>
                </a:cxn>
                <a:cxn ang="0">
                  <a:pos x="29" y="17"/>
                </a:cxn>
                <a:cxn ang="0">
                  <a:pos x="20" y="9"/>
                </a:cxn>
                <a:cxn ang="0">
                  <a:pos x="13" y="0"/>
                </a:cxn>
                <a:cxn ang="0">
                  <a:pos x="9" y="5"/>
                </a:cxn>
                <a:cxn ang="0">
                  <a:pos x="4" y="10"/>
                </a:cxn>
                <a:cxn ang="0">
                  <a:pos x="1" y="14"/>
                </a:cxn>
                <a:cxn ang="0">
                  <a:pos x="0" y="19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6"/>
                </a:cxn>
                <a:cxn ang="0">
                  <a:pos x="24" y="61"/>
                </a:cxn>
                <a:cxn ang="0">
                  <a:pos x="30" y="66"/>
                </a:cxn>
                <a:cxn ang="0">
                  <a:pos x="35" y="69"/>
                </a:cxn>
                <a:cxn ang="0">
                  <a:pos x="42" y="72"/>
                </a:cxn>
                <a:cxn ang="0">
                  <a:pos x="47" y="75"/>
                </a:cxn>
                <a:cxn ang="0">
                  <a:pos x="54" y="77"/>
                </a:cxn>
                <a:cxn ang="0">
                  <a:pos x="60" y="79"/>
                </a:cxn>
                <a:cxn ang="0">
                  <a:pos x="67" y="80"/>
                </a:cxn>
                <a:cxn ang="0">
                  <a:pos x="74" y="80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86" y="80"/>
                </a:cxn>
                <a:cxn ang="0">
                  <a:pos x="86" y="61"/>
                </a:cxn>
                <a:cxn ang="0">
                  <a:pos x="79" y="59"/>
                </a:cxn>
                <a:cxn ang="0">
                  <a:pos x="72" y="56"/>
                </a:cxn>
                <a:cxn ang="0">
                  <a:pos x="67" y="53"/>
                </a:cxn>
                <a:cxn ang="0">
                  <a:pos x="61" y="49"/>
                </a:cxn>
                <a:cxn ang="0">
                  <a:pos x="51" y="41"/>
                </a:cxn>
                <a:cxn ang="0">
                  <a:pos x="43" y="33"/>
                </a:cxn>
                <a:cxn ang="0">
                  <a:pos x="34" y="25"/>
                </a:cxn>
                <a:cxn ang="0">
                  <a:pos x="24" y="16"/>
                </a:cxn>
                <a:cxn ang="0">
                  <a:pos x="13" y="7"/>
                </a:cxn>
                <a:cxn ang="0">
                  <a:pos x="0" y="0"/>
                </a:cxn>
                <a:cxn ang="0">
                  <a:pos x="1" y="8"/>
                </a:cxn>
                <a:cxn ang="0">
                  <a:pos x="5" y="20"/>
                </a:cxn>
                <a:cxn ang="0">
                  <a:pos x="11" y="32"/>
                </a:cxn>
                <a:cxn ang="0">
                  <a:pos x="18" y="44"/>
                </a:cxn>
                <a:cxn ang="0">
                  <a:pos x="27" y="57"/>
                </a:cxn>
                <a:cxn ang="0">
                  <a:pos x="36" y="67"/>
                </a:cxn>
                <a:cxn ang="0">
                  <a:pos x="40" y="72"/>
                </a:cxn>
                <a:cxn ang="0">
                  <a:pos x="45" y="76"/>
                </a:cxn>
                <a:cxn ang="0">
                  <a:pos x="49" y="79"/>
                </a:cxn>
                <a:cxn ang="0">
                  <a:pos x="52" y="80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9" y="18"/>
                </a:cxn>
                <a:cxn ang="0">
                  <a:pos x="14" y="21"/>
                </a:cxn>
                <a:cxn ang="0">
                  <a:pos x="18" y="24"/>
                </a:cxn>
                <a:cxn ang="0">
                  <a:pos x="23" y="26"/>
                </a:cxn>
                <a:cxn ang="0">
                  <a:pos x="29" y="28"/>
                </a:cxn>
                <a:cxn ang="0">
                  <a:pos x="34" y="29"/>
                </a:cxn>
                <a:cxn ang="0">
                  <a:pos x="47" y="31"/>
                </a:cxn>
                <a:cxn ang="0">
                  <a:pos x="58" y="31"/>
                </a:cxn>
                <a:cxn ang="0">
                  <a:pos x="63" y="30"/>
                </a:cxn>
                <a:cxn ang="0">
                  <a:pos x="67" y="29"/>
                </a:cxn>
                <a:cxn ang="0">
                  <a:pos x="71" y="27"/>
                </a:cxn>
                <a:cxn ang="0">
                  <a:pos x="74" y="25"/>
                </a:cxn>
                <a:cxn ang="0">
                  <a:pos x="64" y="18"/>
                </a:cxn>
                <a:cxn ang="0">
                  <a:pos x="55" y="13"/>
                </a:cxn>
                <a:cxn ang="0">
                  <a:pos x="51" y="10"/>
                </a:cxn>
                <a:cxn ang="0">
                  <a:pos x="47" y="8"/>
                </a:cxn>
                <a:cxn ang="0">
                  <a:pos x="43" y="5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0" y="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2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/>
              <a:ahLst/>
              <a:cxnLst>
                <a:cxn ang="0">
                  <a:pos x="7" y="25"/>
                </a:cxn>
                <a:cxn ang="0">
                  <a:pos x="35" y="40"/>
                </a:cxn>
                <a:cxn ang="0">
                  <a:pos x="61" y="55"/>
                </a:cxn>
                <a:cxn ang="0">
                  <a:pos x="72" y="60"/>
                </a:cxn>
                <a:cxn ang="0">
                  <a:pos x="83" y="65"/>
                </a:cxn>
                <a:cxn ang="0">
                  <a:pos x="87" y="65"/>
                </a:cxn>
                <a:cxn ang="0">
                  <a:pos x="91" y="65"/>
                </a:cxn>
                <a:cxn ang="0">
                  <a:pos x="96" y="65"/>
                </a:cxn>
                <a:cxn ang="0">
                  <a:pos x="100" y="62"/>
                </a:cxn>
                <a:cxn ang="0">
                  <a:pos x="94" y="60"/>
                </a:cxn>
                <a:cxn ang="0">
                  <a:pos x="88" y="56"/>
                </a:cxn>
                <a:cxn ang="0">
                  <a:pos x="83" y="52"/>
                </a:cxn>
                <a:cxn ang="0">
                  <a:pos x="78" y="46"/>
                </a:cxn>
                <a:cxn ang="0">
                  <a:pos x="67" y="34"/>
                </a:cxn>
                <a:cxn ang="0">
                  <a:pos x="57" y="21"/>
                </a:cxn>
                <a:cxn ang="0">
                  <a:pos x="52" y="15"/>
                </a:cxn>
                <a:cxn ang="0">
                  <a:pos x="46" y="10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0" y="6"/>
                </a:cxn>
                <a:cxn ang="0">
                  <a:pos x="7" y="25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/>
              <a:ahLst/>
              <a:cxnLst>
                <a:cxn ang="0">
                  <a:pos x="72" y="85"/>
                </a:cxn>
                <a:cxn ang="0">
                  <a:pos x="56" y="61"/>
                </a:cxn>
                <a:cxn ang="0">
                  <a:pos x="43" y="41"/>
                </a:cxn>
                <a:cxn ang="0">
                  <a:pos x="29" y="20"/>
                </a:cxn>
                <a:cxn ang="0">
                  <a:pos x="12" y="0"/>
                </a:cxn>
                <a:cxn ang="0">
                  <a:pos x="6" y="16"/>
                </a:cxn>
                <a:cxn ang="0">
                  <a:pos x="2" y="33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62"/>
                </a:cxn>
                <a:cxn ang="0">
                  <a:pos x="1" y="68"/>
                </a:cxn>
                <a:cxn ang="0">
                  <a:pos x="3" y="74"/>
                </a:cxn>
                <a:cxn ang="0">
                  <a:pos x="6" y="79"/>
                </a:cxn>
                <a:cxn ang="0">
                  <a:pos x="10" y="83"/>
                </a:cxn>
                <a:cxn ang="0">
                  <a:pos x="14" y="88"/>
                </a:cxn>
                <a:cxn ang="0">
                  <a:pos x="20" y="90"/>
                </a:cxn>
                <a:cxn ang="0">
                  <a:pos x="25" y="92"/>
                </a:cxn>
                <a:cxn ang="0">
                  <a:pos x="33" y="92"/>
                </a:cxn>
                <a:cxn ang="0">
                  <a:pos x="43" y="93"/>
                </a:cxn>
                <a:cxn ang="0">
                  <a:pos x="54" y="96"/>
                </a:cxn>
                <a:cxn ang="0">
                  <a:pos x="65" y="100"/>
                </a:cxn>
                <a:cxn ang="0">
                  <a:pos x="79" y="104"/>
                </a:cxn>
                <a:cxn ang="0">
                  <a:pos x="72" y="85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0"/>
              </a:cxn>
              <a:cxn ang="0">
                <a:pos x="36" y="9"/>
              </a:cxn>
              <a:cxn ang="0">
                <a:pos x="33" y="19"/>
              </a:cxn>
              <a:cxn ang="0">
                <a:pos x="27" y="28"/>
              </a:cxn>
              <a:cxn ang="0">
                <a:pos x="22" y="34"/>
              </a:cxn>
              <a:cxn ang="0">
                <a:pos x="19" y="35"/>
              </a:cxn>
              <a:cxn ang="0">
                <a:pos x="16" y="35"/>
              </a:cxn>
              <a:cxn ang="0">
                <a:pos x="13" y="34"/>
              </a:cxn>
              <a:cxn ang="0">
                <a:pos x="11" y="31"/>
              </a:cxn>
              <a:cxn ang="0">
                <a:pos x="7" y="26"/>
              </a:cxn>
              <a:cxn ang="0">
                <a:pos x="5" y="20"/>
              </a:cxn>
              <a:cxn ang="0">
                <a:pos x="2" y="11"/>
              </a:cxn>
              <a:cxn ang="0">
                <a:pos x="0" y="0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/>
            <a:ahLst/>
            <a:cxnLst>
              <a:cxn ang="0">
                <a:pos x="32" y="216"/>
              </a:cxn>
              <a:cxn ang="0">
                <a:pos x="86" y="249"/>
              </a:cxn>
              <a:cxn ang="0">
                <a:pos x="155" y="264"/>
              </a:cxn>
              <a:cxn ang="0">
                <a:pos x="191" y="281"/>
              </a:cxn>
              <a:cxn ang="0">
                <a:pos x="238" y="331"/>
              </a:cxn>
              <a:cxn ang="0">
                <a:pos x="253" y="349"/>
              </a:cxn>
              <a:cxn ang="0">
                <a:pos x="254" y="386"/>
              </a:cxn>
              <a:cxn ang="0">
                <a:pos x="273" y="408"/>
              </a:cxn>
              <a:cxn ang="0">
                <a:pos x="341" y="416"/>
              </a:cxn>
              <a:cxn ang="0">
                <a:pos x="463" y="452"/>
              </a:cxn>
              <a:cxn ang="0">
                <a:pos x="546" y="469"/>
              </a:cxn>
              <a:cxn ang="0">
                <a:pos x="575" y="510"/>
              </a:cxn>
              <a:cxn ang="0">
                <a:pos x="622" y="542"/>
              </a:cxn>
              <a:cxn ang="0">
                <a:pos x="670" y="555"/>
              </a:cxn>
              <a:cxn ang="0">
                <a:pos x="917" y="576"/>
              </a:cxn>
              <a:cxn ang="0">
                <a:pos x="1037" y="614"/>
              </a:cxn>
              <a:cxn ang="0">
                <a:pos x="1117" y="630"/>
              </a:cxn>
              <a:cxn ang="0">
                <a:pos x="1157" y="613"/>
              </a:cxn>
              <a:cxn ang="0">
                <a:pos x="1344" y="564"/>
              </a:cxn>
              <a:cxn ang="0">
                <a:pos x="1395" y="510"/>
              </a:cxn>
              <a:cxn ang="0">
                <a:pos x="1403" y="483"/>
              </a:cxn>
              <a:cxn ang="0">
                <a:pos x="1386" y="455"/>
              </a:cxn>
              <a:cxn ang="0">
                <a:pos x="1370" y="415"/>
              </a:cxn>
              <a:cxn ang="0">
                <a:pos x="1499" y="394"/>
              </a:cxn>
              <a:cxn ang="0">
                <a:pos x="1594" y="343"/>
              </a:cxn>
              <a:cxn ang="0">
                <a:pos x="1651" y="325"/>
              </a:cxn>
              <a:cxn ang="0">
                <a:pos x="1688" y="297"/>
              </a:cxn>
              <a:cxn ang="0">
                <a:pos x="1656" y="279"/>
              </a:cxn>
              <a:cxn ang="0">
                <a:pos x="1619" y="252"/>
              </a:cxn>
              <a:cxn ang="0">
                <a:pos x="1583" y="248"/>
              </a:cxn>
              <a:cxn ang="0">
                <a:pos x="1553" y="258"/>
              </a:cxn>
              <a:cxn ang="0">
                <a:pos x="1497" y="256"/>
              </a:cxn>
              <a:cxn ang="0">
                <a:pos x="1457" y="235"/>
              </a:cxn>
              <a:cxn ang="0">
                <a:pos x="1434" y="187"/>
              </a:cxn>
              <a:cxn ang="0">
                <a:pos x="1367" y="124"/>
              </a:cxn>
              <a:cxn ang="0">
                <a:pos x="1286" y="120"/>
              </a:cxn>
              <a:cxn ang="0">
                <a:pos x="1260" y="147"/>
              </a:cxn>
              <a:cxn ang="0">
                <a:pos x="1236" y="165"/>
              </a:cxn>
              <a:cxn ang="0">
                <a:pos x="1168" y="167"/>
              </a:cxn>
              <a:cxn ang="0">
                <a:pos x="1044" y="167"/>
              </a:cxn>
              <a:cxn ang="0">
                <a:pos x="986" y="140"/>
              </a:cxn>
              <a:cxn ang="0">
                <a:pos x="922" y="108"/>
              </a:cxn>
              <a:cxn ang="0">
                <a:pos x="852" y="100"/>
              </a:cxn>
              <a:cxn ang="0">
                <a:pos x="801" y="114"/>
              </a:cxn>
              <a:cxn ang="0">
                <a:pos x="740" y="116"/>
              </a:cxn>
              <a:cxn ang="0">
                <a:pos x="692" y="101"/>
              </a:cxn>
              <a:cxn ang="0">
                <a:pos x="662" y="68"/>
              </a:cxn>
              <a:cxn ang="0">
                <a:pos x="446" y="7"/>
              </a:cxn>
              <a:cxn ang="0">
                <a:pos x="446" y="44"/>
              </a:cxn>
              <a:cxn ang="0">
                <a:pos x="471" y="79"/>
              </a:cxn>
              <a:cxn ang="0">
                <a:pos x="490" y="106"/>
              </a:cxn>
              <a:cxn ang="0">
                <a:pos x="307" y="122"/>
              </a:cxn>
              <a:cxn ang="0">
                <a:pos x="294" y="87"/>
              </a:cxn>
              <a:cxn ang="0">
                <a:pos x="225" y="97"/>
              </a:cxn>
              <a:cxn ang="0">
                <a:pos x="185" y="88"/>
              </a:cxn>
              <a:cxn ang="0">
                <a:pos x="138" y="97"/>
              </a:cxn>
              <a:cxn ang="0">
                <a:pos x="68" y="143"/>
              </a:cxn>
              <a:cxn ang="0">
                <a:pos x="31" y="151"/>
              </a:cxn>
              <a:cxn ang="0">
                <a:pos x="4" y="169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/>
            <a:ahLst/>
            <a:cxnLst>
              <a:cxn ang="0">
                <a:pos x="26" y="80"/>
              </a:cxn>
              <a:cxn ang="0">
                <a:pos x="49" y="88"/>
              </a:cxn>
              <a:cxn ang="0">
                <a:pos x="72" y="108"/>
              </a:cxn>
              <a:cxn ang="0">
                <a:pos x="88" y="134"/>
              </a:cxn>
              <a:cxn ang="0">
                <a:pos x="93" y="169"/>
              </a:cxn>
              <a:cxn ang="0">
                <a:pos x="84" y="186"/>
              </a:cxn>
              <a:cxn ang="0">
                <a:pos x="81" y="205"/>
              </a:cxn>
              <a:cxn ang="0">
                <a:pos x="88" y="240"/>
              </a:cxn>
              <a:cxn ang="0">
                <a:pos x="95" y="278"/>
              </a:cxn>
              <a:cxn ang="0">
                <a:pos x="83" y="308"/>
              </a:cxn>
              <a:cxn ang="0">
                <a:pos x="81" y="352"/>
              </a:cxn>
              <a:cxn ang="0">
                <a:pos x="93" y="390"/>
              </a:cxn>
              <a:cxn ang="0">
                <a:pos x="99" y="415"/>
              </a:cxn>
              <a:cxn ang="0">
                <a:pos x="78" y="457"/>
              </a:cxn>
              <a:cxn ang="0">
                <a:pos x="113" y="529"/>
              </a:cxn>
              <a:cxn ang="0">
                <a:pos x="138" y="577"/>
              </a:cxn>
              <a:cxn ang="0">
                <a:pos x="146" y="622"/>
              </a:cxn>
              <a:cxn ang="0">
                <a:pos x="152" y="659"/>
              </a:cxn>
              <a:cxn ang="0">
                <a:pos x="187" y="738"/>
              </a:cxn>
              <a:cxn ang="0">
                <a:pos x="214" y="782"/>
              </a:cxn>
              <a:cxn ang="0">
                <a:pos x="230" y="794"/>
              </a:cxn>
              <a:cxn ang="0">
                <a:pos x="251" y="790"/>
              </a:cxn>
              <a:cxn ang="0">
                <a:pos x="289" y="761"/>
              </a:cxn>
              <a:cxn ang="0">
                <a:pos x="324" y="746"/>
              </a:cxn>
              <a:cxn ang="0">
                <a:pos x="355" y="748"/>
              </a:cxn>
              <a:cxn ang="0">
                <a:pos x="388" y="770"/>
              </a:cxn>
              <a:cxn ang="0">
                <a:pos x="418" y="780"/>
              </a:cxn>
              <a:cxn ang="0">
                <a:pos x="437" y="758"/>
              </a:cxn>
              <a:cxn ang="0">
                <a:pos x="478" y="745"/>
              </a:cxn>
              <a:cxn ang="0">
                <a:pos x="525" y="622"/>
              </a:cxn>
              <a:cxn ang="0">
                <a:pos x="539" y="600"/>
              </a:cxn>
              <a:cxn ang="0">
                <a:pos x="575" y="584"/>
              </a:cxn>
              <a:cxn ang="0">
                <a:pos x="665" y="573"/>
              </a:cxn>
              <a:cxn ang="0">
                <a:pos x="687" y="579"/>
              </a:cxn>
              <a:cxn ang="0">
                <a:pos x="704" y="585"/>
              </a:cxn>
              <a:cxn ang="0">
                <a:pos x="744" y="573"/>
              </a:cxn>
              <a:cxn ang="0">
                <a:pos x="757" y="541"/>
              </a:cxn>
              <a:cxn ang="0">
                <a:pos x="752" y="499"/>
              </a:cxn>
              <a:cxn ang="0">
                <a:pos x="726" y="462"/>
              </a:cxn>
              <a:cxn ang="0">
                <a:pos x="710" y="435"/>
              </a:cxn>
              <a:cxn ang="0">
                <a:pos x="671" y="401"/>
              </a:cxn>
              <a:cxn ang="0">
                <a:pos x="633" y="399"/>
              </a:cxn>
              <a:cxn ang="0">
                <a:pos x="605" y="378"/>
              </a:cxn>
              <a:cxn ang="0">
                <a:pos x="590" y="349"/>
              </a:cxn>
              <a:cxn ang="0">
                <a:pos x="585" y="311"/>
              </a:cxn>
              <a:cxn ang="0">
                <a:pos x="583" y="269"/>
              </a:cxn>
              <a:cxn ang="0">
                <a:pos x="560" y="242"/>
              </a:cxn>
              <a:cxn ang="0">
                <a:pos x="503" y="205"/>
              </a:cxn>
              <a:cxn ang="0">
                <a:pos x="440" y="178"/>
              </a:cxn>
              <a:cxn ang="0">
                <a:pos x="392" y="167"/>
              </a:cxn>
              <a:cxn ang="0">
                <a:pos x="359" y="161"/>
              </a:cxn>
              <a:cxn ang="0">
                <a:pos x="330" y="145"/>
              </a:cxn>
              <a:cxn ang="0">
                <a:pos x="307" y="122"/>
              </a:cxn>
              <a:cxn ang="0">
                <a:pos x="292" y="92"/>
              </a:cxn>
              <a:cxn ang="0">
                <a:pos x="279" y="19"/>
              </a:cxn>
              <a:cxn ang="0">
                <a:pos x="261" y="3"/>
              </a:cxn>
              <a:cxn ang="0">
                <a:pos x="227" y="3"/>
              </a:cxn>
              <a:cxn ang="0">
                <a:pos x="173" y="30"/>
              </a:cxn>
              <a:cxn ang="0">
                <a:pos x="119" y="66"/>
              </a:cxn>
              <a:cxn ang="0">
                <a:pos x="0" y="80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/>
            <a:ahLst/>
            <a:cxnLst>
              <a:cxn ang="0">
                <a:pos x="225" y="140"/>
              </a:cxn>
              <a:cxn ang="0">
                <a:pos x="213" y="133"/>
              </a:cxn>
              <a:cxn ang="0">
                <a:pos x="201" y="121"/>
              </a:cxn>
              <a:cxn ang="0">
                <a:pos x="190" y="105"/>
              </a:cxn>
              <a:cxn ang="0">
                <a:pos x="183" y="96"/>
              </a:cxn>
              <a:cxn ang="0">
                <a:pos x="176" y="93"/>
              </a:cxn>
              <a:cxn ang="0">
                <a:pos x="167" y="94"/>
              </a:cxn>
              <a:cxn ang="0">
                <a:pos x="161" y="101"/>
              </a:cxn>
              <a:cxn ang="0">
                <a:pos x="153" y="86"/>
              </a:cxn>
              <a:cxn ang="0">
                <a:pos x="142" y="54"/>
              </a:cxn>
              <a:cxn ang="0">
                <a:pos x="132" y="36"/>
              </a:cxn>
              <a:cxn ang="0">
                <a:pos x="123" y="25"/>
              </a:cxn>
              <a:cxn ang="0">
                <a:pos x="111" y="14"/>
              </a:cxn>
              <a:cxn ang="0">
                <a:pos x="96" y="5"/>
              </a:cxn>
              <a:cxn ang="0">
                <a:pos x="80" y="7"/>
              </a:cxn>
              <a:cxn ang="0">
                <a:pos x="69" y="19"/>
              </a:cxn>
              <a:cxn ang="0">
                <a:pos x="63" y="25"/>
              </a:cxn>
              <a:cxn ang="0">
                <a:pos x="57" y="32"/>
              </a:cxn>
              <a:cxn ang="0">
                <a:pos x="56" y="42"/>
              </a:cxn>
              <a:cxn ang="0">
                <a:pos x="58" y="59"/>
              </a:cxn>
              <a:cxn ang="0">
                <a:pos x="52" y="78"/>
              </a:cxn>
              <a:cxn ang="0">
                <a:pos x="33" y="90"/>
              </a:cxn>
              <a:cxn ang="0">
                <a:pos x="17" y="104"/>
              </a:cxn>
              <a:cxn ang="0">
                <a:pos x="4" y="118"/>
              </a:cxn>
              <a:cxn ang="0">
                <a:pos x="40" y="198"/>
              </a:cxn>
              <a:cxn ang="0">
                <a:pos x="73" y="205"/>
              </a:cxn>
              <a:cxn ang="0">
                <a:pos x="84" y="210"/>
              </a:cxn>
              <a:cxn ang="0">
                <a:pos x="93" y="218"/>
              </a:cxn>
              <a:cxn ang="0">
                <a:pos x="99" y="226"/>
              </a:cxn>
              <a:cxn ang="0">
                <a:pos x="103" y="237"/>
              </a:cxn>
              <a:cxn ang="0">
                <a:pos x="106" y="265"/>
              </a:cxn>
              <a:cxn ang="0">
                <a:pos x="103" y="279"/>
              </a:cxn>
              <a:cxn ang="0">
                <a:pos x="96" y="293"/>
              </a:cxn>
              <a:cxn ang="0">
                <a:pos x="89" y="307"/>
              </a:cxn>
              <a:cxn ang="0">
                <a:pos x="86" y="321"/>
              </a:cxn>
              <a:cxn ang="0">
                <a:pos x="91" y="343"/>
              </a:cxn>
              <a:cxn ang="0">
                <a:pos x="107" y="374"/>
              </a:cxn>
              <a:cxn ang="0">
                <a:pos x="117" y="389"/>
              </a:cxn>
              <a:cxn ang="0">
                <a:pos x="129" y="401"/>
              </a:cxn>
              <a:cxn ang="0">
                <a:pos x="141" y="411"/>
              </a:cxn>
              <a:cxn ang="0">
                <a:pos x="153" y="414"/>
              </a:cxn>
              <a:cxn ang="0">
                <a:pos x="215" y="398"/>
              </a:cxn>
              <a:cxn ang="0">
                <a:pos x="255" y="385"/>
              </a:cxn>
              <a:cxn ang="0">
                <a:pos x="267" y="377"/>
              </a:cxn>
              <a:cxn ang="0">
                <a:pos x="273" y="370"/>
              </a:cxn>
              <a:cxn ang="0">
                <a:pos x="269" y="352"/>
              </a:cxn>
              <a:cxn ang="0">
                <a:pos x="263" y="335"/>
              </a:cxn>
              <a:cxn ang="0">
                <a:pos x="242" y="309"/>
              </a:cxn>
              <a:cxn ang="0">
                <a:pos x="222" y="282"/>
              </a:cxn>
              <a:cxn ang="0">
                <a:pos x="215" y="266"/>
              </a:cxn>
              <a:cxn ang="0">
                <a:pos x="212" y="247"/>
              </a:cxn>
              <a:cxn ang="0">
                <a:pos x="215" y="215"/>
              </a:cxn>
              <a:cxn ang="0">
                <a:pos x="222" y="190"/>
              </a:cxn>
              <a:cxn ang="0">
                <a:pos x="230" y="167"/>
              </a:cxn>
              <a:cxn ang="0">
                <a:pos x="232" y="142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9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20"/>
                </a:cxn>
                <a:cxn ang="0">
                  <a:pos x="10" y="21"/>
                </a:cxn>
                <a:cxn ang="0">
                  <a:pos x="14" y="22"/>
                </a:cxn>
                <a:cxn ang="0">
                  <a:pos x="20" y="22"/>
                </a:cxn>
                <a:cxn ang="0">
                  <a:pos x="23" y="22"/>
                </a:cxn>
                <a:cxn ang="0">
                  <a:pos x="27" y="21"/>
                </a:cxn>
                <a:cxn ang="0">
                  <a:pos x="31" y="20"/>
                </a:cxn>
                <a:cxn ang="0">
                  <a:pos x="33" y="18"/>
                </a:cxn>
                <a:cxn ang="0">
                  <a:pos x="35" y="16"/>
                </a:cxn>
                <a:cxn ang="0">
                  <a:pos x="41" y="12"/>
                </a:cxn>
                <a:cxn ang="0">
                  <a:pos x="47" y="8"/>
                </a:cxn>
                <a:cxn ang="0">
                  <a:pos x="54" y="6"/>
                </a:cxn>
                <a:cxn ang="0">
                  <a:pos x="36" y="5"/>
                </a:cxn>
                <a:cxn ang="0">
                  <a:pos x="20" y="3"/>
                </a:cxn>
                <a:cxn ang="0">
                  <a:pos x="6" y="1"/>
                </a:cxn>
                <a:cxn ang="0">
                  <a:pos x="0" y="0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1" y="3"/>
                </a:cxn>
                <a:cxn ang="0">
                  <a:pos x="0" y="7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4" y="23"/>
                </a:cxn>
                <a:cxn ang="0">
                  <a:pos x="6" y="24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7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/>
              <a:ahLst/>
              <a:cxnLst>
                <a:cxn ang="0">
                  <a:pos x="9" y="208"/>
                </a:cxn>
                <a:cxn ang="0">
                  <a:pos x="50" y="266"/>
                </a:cxn>
                <a:cxn ang="0">
                  <a:pos x="121" y="294"/>
                </a:cxn>
                <a:cxn ang="0">
                  <a:pos x="166" y="316"/>
                </a:cxn>
                <a:cxn ang="0">
                  <a:pos x="198" y="346"/>
                </a:cxn>
                <a:cxn ang="0">
                  <a:pos x="296" y="379"/>
                </a:cxn>
                <a:cxn ang="0">
                  <a:pos x="286" y="420"/>
                </a:cxn>
                <a:cxn ang="0">
                  <a:pos x="311" y="513"/>
                </a:cxn>
                <a:cxn ang="0">
                  <a:pos x="303" y="535"/>
                </a:cxn>
                <a:cxn ang="0">
                  <a:pos x="302" y="566"/>
                </a:cxn>
                <a:cxn ang="0">
                  <a:pos x="328" y="617"/>
                </a:cxn>
                <a:cxn ang="0">
                  <a:pos x="371" y="659"/>
                </a:cxn>
                <a:cxn ang="0">
                  <a:pos x="415" y="671"/>
                </a:cxn>
                <a:cxn ang="0">
                  <a:pos x="465" y="653"/>
                </a:cxn>
                <a:cxn ang="0">
                  <a:pos x="507" y="619"/>
                </a:cxn>
                <a:cxn ang="0">
                  <a:pos x="524" y="586"/>
                </a:cxn>
                <a:cxn ang="0">
                  <a:pos x="477" y="469"/>
                </a:cxn>
                <a:cxn ang="0">
                  <a:pos x="577" y="500"/>
                </a:cxn>
                <a:cxn ang="0">
                  <a:pos x="600" y="477"/>
                </a:cxn>
                <a:cxn ang="0">
                  <a:pos x="652" y="445"/>
                </a:cxn>
                <a:cxn ang="0">
                  <a:pos x="669" y="441"/>
                </a:cxn>
                <a:cxn ang="0">
                  <a:pos x="685" y="435"/>
                </a:cxn>
                <a:cxn ang="0">
                  <a:pos x="666" y="327"/>
                </a:cxn>
                <a:cxn ang="0">
                  <a:pos x="709" y="294"/>
                </a:cxn>
                <a:cxn ang="0">
                  <a:pos x="714" y="253"/>
                </a:cxn>
                <a:cxn ang="0">
                  <a:pos x="726" y="235"/>
                </a:cxn>
                <a:cxn ang="0">
                  <a:pos x="728" y="213"/>
                </a:cxn>
                <a:cxn ang="0">
                  <a:pos x="700" y="196"/>
                </a:cxn>
                <a:cxn ang="0">
                  <a:pos x="686" y="168"/>
                </a:cxn>
                <a:cxn ang="0">
                  <a:pos x="670" y="145"/>
                </a:cxn>
                <a:cxn ang="0">
                  <a:pos x="639" y="152"/>
                </a:cxn>
                <a:cxn ang="0">
                  <a:pos x="630" y="134"/>
                </a:cxn>
                <a:cxn ang="0">
                  <a:pos x="602" y="115"/>
                </a:cxn>
                <a:cxn ang="0">
                  <a:pos x="584" y="97"/>
                </a:cxn>
                <a:cxn ang="0">
                  <a:pos x="536" y="75"/>
                </a:cxn>
                <a:cxn ang="0">
                  <a:pos x="490" y="87"/>
                </a:cxn>
                <a:cxn ang="0">
                  <a:pos x="472" y="101"/>
                </a:cxn>
                <a:cxn ang="0">
                  <a:pos x="434" y="116"/>
                </a:cxn>
                <a:cxn ang="0">
                  <a:pos x="418" y="104"/>
                </a:cxn>
                <a:cxn ang="0">
                  <a:pos x="393" y="102"/>
                </a:cxn>
                <a:cxn ang="0">
                  <a:pos x="359" y="83"/>
                </a:cxn>
                <a:cxn ang="0">
                  <a:pos x="317" y="85"/>
                </a:cxn>
                <a:cxn ang="0">
                  <a:pos x="291" y="92"/>
                </a:cxn>
                <a:cxn ang="0">
                  <a:pos x="252" y="93"/>
                </a:cxn>
                <a:cxn ang="0">
                  <a:pos x="233" y="52"/>
                </a:cxn>
                <a:cxn ang="0">
                  <a:pos x="179" y="22"/>
                </a:cxn>
                <a:cxn ang="0">
                  <a:pos x="148" y="10"/>
                </a:cxn>
                <a:cxn ang="0">
                  <a:pos x="136" y="46"/>
                </a:cxn>
                <a:cxn ang="0">
                  <a:pos x="119" y="69"/>
                </a:cxn>
                <a:cxn ang="0">
                  <a:pos x="119" y="137"/>
                </a:cxn>
                <a:cxn ang="0">
                  <a:pos x="104" y="194"/>
                </a:cxn>
                <a:cxn ang="0">
                  <a:pos x="87" y="190"/>
                </a:cxn>
                <a:cxn ang="0">
                  <a:pos x="70" y="184"/>
                </a:cxn>
                <a:cxn ang="0">
                  <a:pos x="57" y="169"/>
                </a:cxn>
                <a:cxn ang="0">
                  <a:pos x="52" y="119"/>
                </a:cxn>
                <a:cxn ang="0">
                  <a:pos x="73" y="61"/>
                </a:cxn>
                <a:cxn ang="0">
                  <a:pos x="97" y="15"/>
                </a:cxn>
                <a:cxn ang="0">
                  <a:pos x="52" y="30"/>
                </a:cxn>
                <a:cxn ang="0">
                  <a:pos x="16" y="70"/>
                </a:cxn>
                <a:cxn ang="0">
                  <a:pos x="1" y="120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22" y="13"/>
              </a:cxn>
              <a:cxn ang="0">
                <a:pos x="45" y="4"/>
              </a:cxn>
              <a:cxn ang="0">
                <a:pos x="56" y="1"/>
              </a:cxn>
              <a:cxn ang="0">
                <a:pos x="65" y="0"/>
              </a:cxn>
              <a:cxn ang="0">
                <a:pos x="69" y="0"/>
              </a:cxn>
              <a:cxn ang="0">
                <a:pos x="74" y="1"/>
              </a:cxn>
              <a:cxn ang="0">
                <a:pos x="77" y="2"/>
              </a:cxn>
              <a:cxn ang="0">
                <a:pos x="79" y="4"/>
              </a:cxn>
              <a:cxn ang="0">
                <a:pos x="77" y="8"/>
              </a:cxn>
              <a:cxn ang="0">
                <a:pos x="75" y="13"/>
              </a:cxn>
              <a:cxn ang="0">
                <a:pos x="72" y="16"/>
              </a:cxn>
              <a:cxn ang="0">
                <a:pos x="68" y="19"/>
              </a:cxn>
              <a:cxn ang="0">
                <a:pos x="64" y="21"/>
              </a:cxn>
              <a:cxn ang="0">
                <a:pos x="59" y="22"/>
              </a:cxn>
              <a:cxn ang="0">
                <a:pos x="53" y="23"/>
              </a:cxn>
              <a:cxn ang="0">
                <a:pos x="46" y="23"/>
              </a:cxn>
              <a:cxn ang="0">
                <a:pos x="37" y="23"/>
              </a:cxn>
              <a:cxn ang="0">
                <a:pos x="32" y="21"/>
              </a:cxn>
              <a:cxn ang="0">
                <a:pos x="26" y="20"/>
              </a:cxn>
              <a:cxn ang="0">
                <a:pos x="23" y="19"/>
              </a:cxn>
              <a:cxn ang="0">
                <a:pos x="19" y="18"/>
              </a:cxn>
              <a:cxn ang="0">
                <a:pos x="14" y="18"/>
              </a:cxn>
              <a:cxn ang="0">
                <a:pos x="9" y="20"/>
              </a:cxn>
              <a:cxn ang="0">
                <a:pos x="0" y="23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5" y="8"/>
              </a:cxn>
              <a:cxn ang="0">
                <a:pos x="5" y="13"/>
              </a:cxn>
              <a:cxn ang="0">
                <a:pos x="5" y="18"/>
              </a:cxn>
              <a:cxn ang="0">
                <a:pos x="4" y="23"/>
              </a:cxn>
              <a:cxn ang="0">
                <a:pos x="2" y="27"/>
              </a:cxn>
              <a:cxn ang="0">
                <a:pos x="0" y="30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" y="17"/>
              </a:cxn>
              <a:cxn ang="0">
                <a:pos x="5" y="22"/>
              </a:cxn>
              <a:cxn ang="0">
                <a:pos x="9" y="27"/>
              </a:cxn>
              <a:cxn ang="0">
                <a:pos x="15" y="33"/>
              </a:cxn>
              <a:cxn ang="0">
                <a:pos x="26" y="44"/>
              </a:cxn>
              <a:cxn ang="0">
                <a:pos x="33" y="55"/>
              </a:cxn>
              <a:cxn ang="0">
                <a:pos x="53" y="55"/>
              </a:cxn>
              <a:cxn ang="0">
                <a:pos x="40" y="41"/>
              </a:cxn>
              <a:cxn ang="0">
                <a:pos x="28" y="29"/>
              </a:cxn>
              <a:cxn ang="0">
                <a:pos x="23" y="23"/>
              </a:cxn>
              <a:cxn ang="0">
                <a:pos x="19" y="16"/>
              </a:cxn>
              <a:cxn ang="0">
                <a:pos x="16" y="8"/>
              </a:cxn>
              <a:cxn ang="0">
                <a:pos x="14" y="0"/>
              </a:cxn>
              <a:cxn ang="0">
                <a:pos x="7" y="6"/>
              </a:cxn>
              <a:cxn ang="0">
                <a:pos x="0" y="12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9" y="43"/>
              </a:cxn>
              <a:cxn ang="0">
                <a:pos x="20" y="55"/>
              </a:cxn>
              <a:cxn ang="0">
                <a:pos x="26" y="61"/>
              </a:cxn>
              <a:cxn ang="0">
                <a:pos x="32" y="67"/>
              </a:cxn>
              <a:cxn ang="0">
                <a:pos x="39" y="71"/>
              </a:cxn>
              <a:cxn ang="0">
                <a:pos x="46" y="75"/>
              </a:cxn>
              <a:cxn ang="0">
                <a:pos x="51" y="61"/>
              </a:cxn>
              <a:cxn ang="0">
                <a:pos x="58" y="48"/>
              </a:cxn>
              <a:cxn ang="0">
                <a:pos x="61" y="42"/>
              </a:cxn>
              <a:cxn ang="0">
                <a:pos x="63" y="36"/>
              </a:cxn>
              <a:cxn ang="0">
                <a:pos x="65" y="31"/>
              </a:cxn>
              <a:cxn ang="0">
                <a:pos x="65" y="26"/>
              </a:cxn>
              <a:cxn ang="0">
                <a:pos x="65" y="21"/>
              </a:cxn>
              <a:cxn ang="0">
                <a:pos x="63" y="18"/>
              </a:cxn>
              <a:cxn ang="0">
                <a:pos x="61" y="13"/>
              </a:cxn>
              <a:cxn ang="0">
                <a:pos x="58" y="10"/>
              </a:cxn>
              <a:cxn ang="0">
                <a:pos x="51" y="5"/>
              </a:cxn>
              <a:cxn ang="0">
                <a:pos x="46" y="0"/>
              </a:cxn>
              <a:cxn ang="0">
                <a:pos x="34" y="0"/>
              </a:cxn>
              <a:cxn ang="0">
                <a:pos x="26" y="0"/>
              </a:cxn>
              <a:cxn ang="0">
                <a:pos x="25" y="2"/>
              </a:cxn>
              <a:cxn ang="0">
                <a:pos x="24" y="7"/>
              </a:cxn>
              <a:cxn ang="0">
                <a:pos x="23" y="9"/>
              </a:cxn>
              <a:cxn ang="0">
                <a:pos x="23" y="11"/>
              </a:cxn>
              <a:cxn ang="0">
                <a:pos x="24" y="12"/>
              </a:cxn>
              <a:cxn ang="0">
                <a:pos x="26" y="1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3" y="52"/>
              </a:cxn>
              <a:cxn ang="0">
                <a:pos x="7" y="43"/>
              </a:cxn>
              <a:cxn ang="0">
                <a:pos x="12" y="33"/>
              </a:cxn>
              <a:cxn ang="0">
                <a:pos x="17" y="25"/>
              </a:cxn>
              <a:cxn ang="0">
                <a:pos x="23" y="17"/>
              </a:cxn>
              <a:cxn ang="0">
                <a:pos x="29" y="9"/>
              </a:cxn>
              <a:cxn ang="0">
                <a:pos x="35" y="3"/>
              </a:cxn>
              <a:cxn ang="0">
                <a:pos x="40" y="0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/>
            <a:ahLst/>
            <a:cxnLst>
              <a:cxn ang="0">
                <a:pos x="159" y="259"/>
              </a:cxn>
              <a:cxn ang="0">
                <a:pos x="159" y="251"/>
              </a:cxn>
              <a:cxn ang="0">
                <a:pos x="159" y="244"/>
              </a:cxn>
              <a:cxn ang="0">
                <a:pos x="159" y="236"/>
              </a:cxn>
              <a:cxn ang="0">
                <a:pos x="159" y="228"/>
              </a:cxn>
              <a:cxn ang="0">
                <a:pos x="159" y="224"/>
              </a:cxn>
              <a:cxn ang="0">
                <a:pos x="158" y="219"/>
              </a:cxn>
              <a:cxn ang="0">
                <a:pos x="156" y="215"/>
              </a:cxn>
              <a:cxn ang="0">
                <a:pos x="153" y="210"/>
              </a:cxn>
              <a:cxn ang="0">
                <a:pos x="145" y="202"/>
              </a:cxn>
              <a:cxn ang="0">
                <a:pos x="135" y="195"/>
              </a:cxn>
              <a:cxn ang="0">
                <a:pos x="124" y="189"/>
              </a:cxn>
              <a:cxn ang="0">
                <a:pos x="112" y="184"/>
              </a:cxn>
              <a:cxn ang="0">
                <a:pos x="99" y="180"/>
              </a:cxn>
              <a:cxn ang="0">
                <a:pos x="87" y="179"/>
              </a:cxn>
              <a:cxn ang="0">
                <a:pos x="85" y="178"/>
              </a:cxn>
              <a:cxn ang="0">
                <a:pos x="82" y="177"/>
              </a:cxn>
              <a:cxn ang="0">
                <a:pos x="81" y="175"/>
              </a:cxn>
              <a:cxn ang="0">
                <a:pos x="80" y="173"/>
              </a:cxn>
              <a:cxn ang="0">
                <a:pos x="80" y="167"/>
              </a:cxn>
              <a:cxn ang="0">
                <a:pos x="81" y="161"/>
              </a:cxn>
              <a:cxn ang="0">
                <a:pos x="85" y="148"/>
              </a:cxn>
              <a:cxn ang="0">
                <a:pos x="87" y="142"/>
              </a:cxn>
              <a:cxn ang="0">
                <a:pos x="73" y="141"/>
              </a:cxn>
              <a:cxn ang="0">
                <a:pos x="59" y="139"/>
              </a:cxn>
              <a:cxn ang="0">
                <a:pos x="48" y="135"/>
              </a:cxn>
              <a:cxn ang="0">
                <a:pos x="40" y="129"/>
              </a:cxn>
              <a:cxn ang="0">
                <a:pos x="31" y="121"/>
              </a:cxn>
              <a:cxn ang="0">
                <a:pos x="24" y="113"/>
              </a:cxn>
              <a:cxn ang="0">
                <a:pos x="18" y="104"/>
              </a:cxn>
              <a:cxn ang="0">
                <a:pos x="13" y="94"/>
              </a:cxn>
              <a:cxn ang="0">
                <a:pos x="9" y="84"/>
              </a:cxn>
              <a:cxn ang="0">
                <a:pos x="7" y="73"/>
              </a:cxn>
              <a:cxn ang="0">
                <a:pos x="5" y="60"/>
              </a:cxn>
              <a:cxn ang="0">
                <a:pos x="2" y="48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1" y="19"/>
              </a:cxn>
              <a:cxn ang="0">
                <a:pos x="4" y="13"/>
              </a:cxn>
              <a:cxn ang="0">
                <a:pos x="8" y="6"/>
              </a:cxn>
              <a:cxn ang="0">
                <a:pos x="13" y="0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/>
            <a:ahLst/>
            <a:cxnLst>
              <a:cxn ang="0">
                <a:pos x="100" y="123"/>
              </a:cxn>
              <a:cxn ang="0">
                <a:pos x="90" y="122"/>
              </a:cxn>
              <a:cxn ang="0">
                <a:pos x="76" y="119"/>
              </a:cxn>
              <a:cxn ang="0">
                <a:pos x="60" y="114"/>
              </a:cxn>
              <a:cxn ang="0">
                <a:pos x="43" y="107"/>
              </a:cxn>
              <a:cxn ang="0">
                <a:pos x="34" y="103"/>
              </a:cxn>
              <a:cxn ang="0">
                <a:pos x="27" y="99"/>
              </a:cxn>
              <a:cxn ang="0">
                <a:pos x="20" y="94"/>
              </a:cxn>
              <a:cxn ang="0">
                <a:pos x="13" y="89"/>
              </a:cxn>
              <a:cxn ang="0">
                <a:pos x="8" y="84"/>
              </a:cxn>
              <a:cxn ang="0">
                <a:pos x="4" y="79"/>
              </a:cxn>
              <a:cxn ang="0">
                <a:pos x="1" y="73"/>
              </a:cxn>
              <a:cxn ang="0">
                <a:pos x="0" y="68"/>
              </a:cxn>
              <a:cxn ang="0">
                <a:pos x="2" y="55"/>
              </a:cxn>
              <a:cxn ang="0">
                <a:pos x="7" y="36"/>
              </a:cxn>
              <a:cxn ang="0">
                <a:pos x="11" y="17"/>
              </a:cxn>
              <a:cxn ang="0">
                <a:pos x="13" y="0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34"/>
              </a:cxn>
              <a:cxn ang="0">
                <a:pos x="1" y="59"/>
              </a:cxn>
              <a:cxn ang="0">
                <a:pos x="0" y="69"/>
              </a:cxn>
              <a:cxn ang="0">
                <a:pos x="0" y="78"/>
              </a:cxn>
              <a:cxn ang="0">
                <a:pos x="2" y="87"/>
              </a:cxn>
              <a:cxn ang="0">
                <a:pos x="5" y="99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6"/>
              </a:cxn>
              <a:cxn ang="0">
                <a:pos x="4" y="33"/>
              </a:cxn>
              <a:cxn ang="0">
                <a:pos x="2" y="52"/>
              </a:cxn>
              <a:cxn ang="0">
                <a:pos x="0" y="68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"/>
              </a:cxn>
              <a:cxn ang="0">
                <a:pos x="0" y="26"/>
              </a:cxn>
              <a:cxn ang="0">
                <a:pos x="0" y="37"/>
              </a:cxn>
              <a:cxn ang="0">
                <a:pos x="0" y="43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5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/>
            <a:ahLst/>
            <a:cxnLst>
              <a:cxn ang="0">
                <a:pos x="19" y="158"/>
              </a:cxn>
              <a:cxn ang="0">
                <a:pos x="7" y="142"/>
              </a:cxn>
              <a:cxn ang="0">
                <a:pos x="0" y="130"/>
              </a:cxn>
              <a:cxn ang="0">
                <a:pos x="1" y="108"/>
              </a:cxn>
              <a:cxn ang="0">
                <a:pos x="11" y="68"/>
              </a:cxn>
              <a:cxn ang="0">
                <a:pos x="24" y="39"/>
              </a:cxn>
              <a:cxn ang="0">
                <a:pos x="34" y="21"/>
              </a:cxn>
              <a:cxn ang="0">
                <a:pos x="44" y="9"/>
              </a:cxn>
              <a:cxn ang="0">
                <a:pos x="54" y="1"/>
              </a:cxn>
              <a:cxn ang="0">
                <a:pos x="65" y="1"/>
              </a:cxn>
              <a:cxn ang="0">
                <a:pos x="76" y="3"/>
              </a:cxn>
              <a:cxn ang="0">
                <a:pos x="88" y="8"/>
              </a:cxn>
              <a:cxn ang="0">
                <a:pos x="100" y="17"/>
              </a:cxn>
              <a:cxn ang="0">
                <a:pos x="112" y="24"/>
              </a:cxn>
              <a:cxn ang="0">
                <a:pos x="128" y="24"/>
              </a:cxn>
              <a:cxn ang="0">
                <a:pos x="145" y="19"/>
              </a:cxn>
              <a:cxn ang="0">
                <a:pos x="165" y="7"/>
              </a:cxn>
              <a:cxn ang="0">
                <a:pos x="225" y="0"/>
              </a:cxn>
              <a:cxn ang="0">
                <a:pos x="215" y="22"/>
              </a:cxn>
              <a:cxn ang="0">
                <a:pos x="201" y="41"/>
              </a:cxn>
              <a:cxn ang="0">
                <a:pos x="168" y="72"/>
              </a:cxn>
              <a:cxn ang="0">
                <a:pos x="138" y="100"/>
              </a:cxn>
              <a:cxn ang="0">
                <a:pos x="129" y="114"/>
              </a:cxn>
              <a:cxn ang="0">
                <a:pos x="126" y="130"/>
              </a:cxn>
              <a:cxn ang="0">
                <a:pos x="123" y="126"/>
              </a:cxn>
              <a:cxn ang="0">
                <a:pos x="120" y="117"/>
              </a:cxn>
              <a:cxn ang="0">
                <a:pos x="106" y="121"/>
              </a:cxn>
              <a:cxn ang="0">
                <a:pos x="97" y="128"/>
              </a:cxn>
              <a:cxn ang="0">
                <a:pos x="80" y="145"/>
              </a:cxn>
              <a:cxn ang="0">
                <a:pos x="71" y="153"/>
              </a:cxn>
              <a:cxn ang="0">
                <a:pos x="60" y="160"/>
              </a:cxn>
              <a:cxn ang="0">
                <a:pos x="46" y="165"/>
              </a:cxn>
              <a:cxn ang="0">
                <a:pos x="26" y="167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" y="22"/>
              </a:cxn>
              <a:cxn ang="0">
                <a:pos x="6" y="13"/>
              </a:cxn>
              <a:cxn ang="0">
                <a:pos x="7" y="6"/>
              </a:cxn>
              <a:cxn ang="0">
                <a:pos x="7" y="0"/>
              </a:cxn>
              <a:cxn ang="0">
                <a:pos x="6" y="6"/>
              </a:cxn>
              <a:cxn ang="0">
                <a:pos x="4" y="13"/>
              </a:cxn>
              <a:cxn ang="0">
                <a:pos x="1" y="22"/>
              </a:cxn>
              <a:cxn ang="0">
                <a:pos x="0" y="31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/>
            <a:ahLst/>
            <a:cxnLst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22" y="2"/>
              </a:cxn>
              <a:cxn ang="0">
                <a:pos x="16" y="5"/>
              </a:cxn>
              <a:cxn ang="0">
                <a:pos x="11" y="8"/>
              </a:cxn>
              <a:cxn ang="0">
                <a:pos x="6" y="12"/>
              </a:cxn>
              <a:cxn ang="0">
                <a:pos x="3" y="16"/>
              </a:cxn>
              <a:cxn ang="0">
                <a:pos x="1" y="21"/>
              </a:cxn>
              <a:cxn ang="0">
                <a:pos x="0" y="25"/>
              </a:cxn>
              <a:cxn ang="0">
                <a:pos x="1" y="27"/>
              </a:cxn>
              <a:cxn ang="0">
                <a:pos x="3" y="29"/>
              </a:cxn>
              <a:cxn ang="0">
                <a:pos x="6" y="30"/>
              </a:cxn>
              <a:cxn ang="0">
                <a:pos x="11" y="30"/>
              </a:cxn>
              <a:cxn ang="0">
                <a:pos x="22" y="31"/>
              </a:cxn>
              <a:cxn ang="0">
                <a:pos x="33" y="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" y="18"/>
              </a:cxn>
              <a:cxn ang="0">
                <a:pos x="5" y="17"/>
              </a:cxn>
              <a:cxn ang="0">
                <a:pos x="7" y="15"/>
              </a:cxn>
              <a:cxn ang="0">
                <a:pos x="8" y="12"/>
              </a:cxn>
              <a:cxn ang="0">
                <a:pos x="12" y="6"/>
              </a:cxn>
              <a:cxn ang="0">
                <a:pos x="13" y="0"/>
              </a:cxn>
              <a:cxn ang="0">
                <a:pos x="0" y="19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/>
            <a:ahLst/>
            <a:cxnLst>
              <a:cxn ang="0">
                <a:pos x="54" y="42"/>
              </a:cxn>
              <a:cxn ang="0">
                <a:pos x="59" y="42"/>
              </a:cxn>
              <a:cxn ang="0">
                <a:pos x="64" y="41"/>
              </a:cxn>
              <a:cxn ang="0">
                <a:pos x="68" y="40"/>
              </a:cxn>
              <a:cxn ang="0">
                <a:pos x="71" y="38"/>
              </a:cxn>
              <a:cxn ang="0">
                <a:pos x="75" y="34"/>
              </a:cxn>
              <a:cxn ang="0">
                <a:pos x="78" y="28"/>
              </a:cxn>
              <a:cxn ang="0">
                <a:pos x="79" y="22"/>
              </a:cxn>
              <a:cxn ang="0">
                <a:pos x="80" y="16"/>
              </a:cxn>
              <a:cxn ang="0">
                <a:pos x="82" y="11"/>
              </a:cxn>
              <a:cxn ang="0">
                <a:pos x="87" y="6"/>
              </a:cxn>
              <a:cxn ang="0">
                <a:pos x="77" y="2"/>
              </a:cxn>
              <a:cxn ang="0">
                <a:pos x="67" y="0"/>
              </a:cxn>
              <a:cxn ang="0">
                <a:pos x="57" y="0"/>
              </a:cxn>
              <a:cxn ang="0">
                <a:pos x="47" y="0"/>
              </a:cxn>
              <a:cxn ang="0">
                <a:pos x="40" y="0"/>
              </a:cxn>
              <a:cxn ang="0">
                <a:pos x="32" y="2"/>
              </a:cxn>
              <a:cxn ang="0">
                <a:pos x="25" y="4"/>
              </a:cxn>
              <a:cxn ang="0">
                <a:pos x="19" y="6"/>
              </a:cxn>
              <a:cxn ang="0">
                <a:pos x="8" y="12"/>
              </a:cxn>
              <a:cxn ang="0">
                <a:pos x="0" y="18"/>
              </a:cxn>
              <a:cxn ang="0">
                <a:pos x="11" y="24"/>
              </a:cxn>
              <a:cxn ang="0">
                <a:pos x="27" y="32"/>
              </a:cxn>
              <a:cxn ang="0">
                <a:pos x="43" y="39"/>
              </a:cxn>
              <a:cxn ang="0">
                <a:pos x="54" y="42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7" y="18"/>
              </a:cxn>
              <a:cxn ang="0">
                <a:pos x="0" y="31"/>
              </a:cxn>
              <a:cxn ang="0">
                <a:pos x="0" y="0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/>
            <a:ahLst/>
            <a:cxnLst>
              <a:cxn ang="0">
                <a:pos x="214" y="707"/>
              </a:cxn>
              <a:cxn ang="0">
                <a:pos x="325" y="649"/>
              </a:cxn>
              <a:cxn ang="0">
                <a:pos x="435" y="606"/>
              </a:cxn>
              <a:cxn ang="0">
                <a:pos x="605" y="570"/>
              </a:cxn>
              <a:cxn ang="0">
                <a:pos x="677" y="437"/>
              </a:cxn>
              <a:cxn ang="0">
                <a:pos x="758" y="439"/>
              </a:cxn>
              <a:cxn ang="0">
                <a:pos x="784" y="363"/>
              </a:cxn>
              <a:cxn ang="0">
                <a:pos x="866" y="316"/>
              </a:cxn>
              <a:cxn ang="0">
                <a:pos x="939" y="246"/>
              </a:cxn>
              <a:cxn ang="0">
                <a:pos x="1027" y="223"/>
              </a:cxn>
              <a:cxn ang="0">
                <a:pos x="1078" y="284"/>
              </a:cxn>
              <a:cxn ang="0">
                <a:pos x="1135" y="270"/>
              </a:cxn>
              <a:cxn ang="0">
                <a:pos x="1176" y="172"/>
              </a:cxn>
              <a:cxn ang="0">
                <a:pos x="1320" y="117"/>
              </a:cxn>
              <a:cxn ang="0">
                <a:pos x="1336" y="41"/>
              </a:cxn>
              <a:cxn ang="0">
                <a:pos x="1432" y="107"/>
              </a:cxn>
              <a:cxn ang="0">
                <a:pos x="1544" y="117"/>
              </a:cxn>
              <a:cxn ang="0">
                <a:pos x="1465" y="262"/>
              </a:cxn>
              <a:cxn ang="0">
                <a:pos x="1509" y="333"/>
              </a:cxn>
              <a:cxn ang="0">
                <a:pos x="1582" y="354"/>
              </a:cxn>
              <a:cxn ang="0">
                <a:pos x="1668" y="423"/>
              </a:cxn>
              <a:cxn ang="0">
                <a:pos x="1764" y="413"/>
              </a:cxn>
              <a:cxn ang="0">
                <a:pos x="1830" y="205"/>
              </a:cxn>
              <a:cxn ang="0">
                <a:pos x="1904" y="10"/>
              </a:cxn>
              <a:cxn ang="0">
                <a:pos x="1933" y="80"/>
              </a:cxn>
              <a:cxn ang="0">
                <a:pos x="1944" y="176"/>
              </a:cxn>
              <a:cxn ang="0">
                <a:pos x="1986" y="240"/>
              </a:cxn>
              <a:cxn ang="0">
                <a:pos x="2040" y="429"/>
              </a:cxn>
              <a:cxn ang="0">
                <a:pos x="2089" y="540"/>
              </a:cxn>
              <a:cxn ang="0">
                <a:pos x="2163" y="686"/>
              </a:cxn>
              <a:cxn ang="0">
                <a:pos x="2219" y="769"/>
              </a:cxn>
              <a:cxn ang="0">
                <a:pos x="2332" y="892"/>
              </a:cxn>
              <a:cxn ang="0">
                <a:pos x="2276" y="1105"/>
              </a:cxn>
              <a:cxn ang="0">
                <a:pos x="2087" y="1362"/>
              </a:cxn>
              <a:cxn ang="0">
                <a:pos x="2005" y="1432"/>
              </a:cxn>
              <a:cxn ang="0">
                <a:pos x="1838" y="1591"/>
              </a:cxn>
              <a:cxn ang="0">
                <a:pos x="1749" y="1676"/>
              </a:cxn>
              <a:cxn ang="0">
                <a:pos x="1589" y="1726"/>
              </a:cxn>
              <a:cxn ang="0">
                <a:pos x="1517" y="1693"/>
              </a:cxn>
              <a:cxn ang="0">
                <a:pos x="1410" y="1729"/>
              </a:cxn>
              <a:cxn ang="0">
                <a:pos x="1297" y="1693"/>
              </a:cxn>
              <a:cxn ang="0">
                <a:pos x="1279" y="1614"/>
              </a:cxn>
              <a:cxn ang="0">
                <a:pos x="1263" y="1516"/>
              </a:cxn>
              <a:cxn ang="0">
                <a:pos x="1225" y="1500"/>
              </a:cxn>
              <a:cxn ang="0">
                <a:pos x="1280" y="1382"/>
              </a:cxn>
              <a:cxn ang="0">
                <a:pos x="1088" y="1362"/>
              </a:cxn>
              <a:cxn ang="0">
                <a:pos x="961" y="1282"/>
              </a:cxn>
              <a:cxn ang="0">
                <a:pos x="754" y="1323"/>
              </a:cxn>
              <a:cxn ang="0">
                <a:pos x="507" y="1419"/>
              </a:cxn>
              <a:cxn ang="0">
                <a:pos x="214" y="1473"/>
              </a:cxn>
              <a:cxn ang="0">
                <a:pos x="55" y="1490"/>
              </a:cxn>
              <a:cxn ang="0">
                <a:pos x="2" y="1423"/>
              </a:cxn>
              <a:cxn ang="0">
                <a:pos x="97" y="1344"/>
              </a:cxn>
              <a:cxn ang="0">
                <a:pos x="75" y="1241"/>
              </a:cxn>
              <a:cxn ang="0">
                <a:pos x="113" y="1170"/>
              </a:cxn>
              <a:cxn ang="0">
                <a:pos x="58" y="943"/>
              </a:cxn>
              <a:cxn ang="0">
                <a:pos x="113" y="964"/>
              </a:cxn>
              <a:cxn ang="0">
                <a:pos x="106" y="862"/>
              </a:cxn>
              <a:cxn ang="0">
                <a:pos x="147" y="765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/>
            <a:ahLst/>
            <a:cxnLst>
              <a:cxn ang="0">
                <a:pos x="1243" y="925"/>
              </a:cxn>
              <a:cxn ang="0">
                <a:pos x="1299" y="982"/>
              </a:cxn>
              <a:cxn ang="0">
                <a:pos x="1220" y="999"/>
              </a:cxn>
              <a:cxn ang="0">
                <a:pos x="1177" y="1095"/>
              </a:cxn>
              <a:cxn ang="0">
                <a:pos x="1065" y="1006"/>
              </a:cxn>
              <a:cxn ang="0">
                <a:pos x="994" y="1012"/>
              </a:cxn>
              <a:cxn ang="0">
                <a:pos x="913" y="1039"/>
              </a:cxn>
              <a:cxn ang="0">
                <a:pos x="786" y="971"/>
              </a:cxn>
              <a:cxn ang="0">
                <a:pos x="648" y="917"/>
              </a:cxn>
              <a:cxn ang="0">
                <a:pos x="588" y="883"/>
              </a:cxn>
              <a:cxn ang="0">
                <a:pos x="537" y="835"/>
              </a:cxn>
              <a:cxn ang="0">
                <a:pos x="485" y="826"/>
              </a:cxn>
              <a:cxn ang="0">
                <a:pos x="439" y="757"/>
              </a:cxn>
              <a:cxn ang="0">
                <a:pos x="467" y="705"/>
              </a:cxn>
              <a:cxn ang="0">
                <a:pos x="450" y="601"/>
              </a:cxn>
              <a:cxn ang="0">
                <a:pos x="352" y="468"/>
              </a:cxn>
              <a:cxn ang="0">
                <a:pos x="304" y="426"/>
              </a:cxn>
              <a:cxn ang="0">
                <a:pos x="293" y="369"/>
              </a:cxn>
              <a:cxn ang="0">
                <a:pos x="217" y="248"/>
              </a:cxn>
              <a:cxn ang="0">
                <a:pos x="167" y="74"/>
              </a:cxn>
              <a:cxn ang="0">
                <a:pos x="84" y="104"/>
              </a:cxn>
              <a:cxn ang="0">
                <a:pos x="113" y="222"/>
              </a:cxn>
              <a:cxn ang="0">
                <a:pos x="150" y="326"/>
              </a:cxn>
              <a:cxn ang="0">
                <a:pos x="196" y="402"/>
              </a:cxn>
              <a:cxn ang="0">
                <a:pos x="200" y="465"/>
              </a:cxn>
              <a:cxn ang="0">
                <a:pos x="213" y="524"/>
              </a:cxn>
              <a:cxn ang="0">
                <a:pos x="259" y="571"/>
              </a:cxn>
              <a:cxn ang="0">
                <a:pos x="214" y="596"/>
              </a:cxn>
              <a:cxn ang="0">
                <a:pos x="193" y="542"/>
              </a:cxn>
              <a:cxn ang="0">
                <a:pos x="120" y="474"/>
              </a:cxn>
              <a:cxn ang="0">
                <a:pos x="146" y="420"/>
              </a:cxn>
              <a:cxn ang="0">
                <a:pos x="89" y="366"/>
              </a:cxn>
              <a:cxn ang="0">
                <a:pos x="27" y="307"/>
              </a:cxn>
              <a:cxn ang="0">
                <a:pos x="65" y="289"/>
              </a:cxn>
              <a:cxn ang="0">
                <a:pos x="64" y="225"/>
              </a:cxn>
              <a:cxn ang="0">
                <a:pos x="6" y="117"/>
              </a:cxn>
              <a:cxn ang="0">
                <a:pos x="38" y="5"/>
              </a:cxn>
              <a:cxn ang="0">
                <a:pos x="211" y="18"/>
              </a:cxn>
              <a:cxn ang="0">
                <a:pos x="361" y="76"/>
              </a:cxn>
              <a:cxn ang="0">
                <a:pos x="498" y="55"/>
              </a:cxn>
              <a:cxn ang="0">
                <a:pos x="593" y="54"/>
              </a:cxn>
              <a:cxn ang="0">
                <a:pos x="633" y="110"/>
              </a:cxn>
              <a:cxn ang="0">
                <a:pos x="700" y="215"/>
              </a:cxn>
              <a:cxn ang="0">
                <a:pos x="750" y="192"/>
              </a:cxn>
              <a:cxn ang="0">
                <a:pos x="822" y="176"/>
              </a:cxn>
              <a:cxn ang="0">
                <a:pos x="879" y="244"/>
              </a:cxn>
              <a:cxn ang="0">
                <a:pos x="905" y="362"/>
              </a:cxn>
              <a:cxn ang="0">
                <a:pos x="964" y="405"/>
              </a:cxn>
              <a:cxn ang="0">
                <a:pos x="977" y="456"/>
              </a:cxn>
              <a:cxn ang="0">
                <a:pos x="931" y="492"/>
              </a:cxn>
              <a:cxn ang="0">
                <a:pos x="917" y="634"/>
              </a:cxn>
              <a:cxn ang="0">
                <a:pos x="956" y="791"/>
              </a:cxn>
              <a:cxn ang="0">
                <a:pos x="1054" y="877"/>
              </a:cxn>
              <a:cxn ang="0">
                <a:pos x="1166" y="849"/>
              </a:cxn>
              <a:cxn ang="0">
                <a:pos x="1249" y="850"/>
              </a:cxn>
              <a:cxn ang="0">
                <a:pos x="1296" y="742"/>
              </a:cxn>
              <a:cxn ang="0">
                <a:pos x="1336" y="693"/>
              </a:cxn>
              <a:cxn ang="0">
                <a:pos x="1506" y="678"/>
              </a:cxn>
              <a:cxn ang="0">
                <a:pos x="1503" y="729"/>
              </a:cxn>
              <a:cxn ang="0">
                <a:pos x="1468" y="821"/>
              </a:cxn>
              <a:cxn ang="0">
                <a:pos x="1369" y="888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/>
            <a:ahLst/>
            <a:cxnLst>
              <a:cxn ang="0">
                <a:pos x="14" y="176"/>
              </a:cxn>
              <a:cxn ang="0">
                <a:pos x="31" y="198"/>
              </a:cxn>
              <a:cxn ang="0">
                <a:pos x="51" y="232"/>
              </a:cxn>
              <a:cxn ang="0">
                <a:pos x="82" y="266"/>
              </a:cxn>
              <a:cxn ang="0">
                <a:pos x="126" y="293"/>
              </a:cxn>
              <a:cxn ang="0">
                <a:pos x="170" y="310"/>
              </a:cxn>
              <a:cxn ang="0">
                <a:pos x="246" y="328"/>
              </a:cxn>
              <a:cxn ang="0">
                <a:pos x="295" y="344"/>
              </a:cxn>
              <a:cxn ang="0">
                <a:pos x="299" y="381"/>
              </a:cxn>
              <a:cxn ang="0">
                <a:pos x="277" y="418"/>
              </a:cxn>
              <a:cxn ang="0">
                <a:pos x="267" y="443"/>
              </a:cxn>
              <a:cxn ang="0">
                <a:pos x="266" y="463"/>
              </a:cxn>
              <a:cxn ang="0">
                <a:pos x="278" y="482"/>
              </a:cxn>
              <a:cxn ang="0">
                <a:pos x="299" y="494"/>
              </a:cxn>
              <a:cxn ang="0">
                <a:pos x="344" y="504"/>
              </a:cxn>
              <a:cxn ang="0">
                <a:pos x="387" y="504"/>
              </a:cxn>
              <a:cxn ang="0">
                <a:pos x="415" y="494"/>
              </a:cxn>
              <a:cxn ang="0">
                <a:pos x="446" y="474"/>
              </a:cxn>
              <a:cxn ang="0">
                <a:pos x="473" y="447"/>
              </a:cxn>
              <a:cxn ang="0">
                <a:pos x="485" y="418"/>
              </a:cxn>
              <a:cxn ang="0">
                <a:pos x="484" y="397"/>
              </a:cxn>
              <a:cxn ang="0">
                <a:pos x="478" y="358"/>
              </a:cxn>
              <a:cxn ang="0">
                <a:pos x="471" y="316"/>
              </a:cxn>
              <a:cxn ang="0">
                <a:pos x="465" y="270"/>
              </a:cxn>
              <a:cxn ang="0">
                <a:pos x="456" y="252"/>
              </a:cxn>
              <a:cxn ang="0">
                <a:pos x="439" y="239"/>
              </a:cxn>
              <a:cxn ang="0">
                <a:pos x="413" y="232"/>
              </a:cxn>
              <a:cxn ang="0">
                <a:pos x="392" y="222"/>
              </a:cxn>
              <a:cxn ang="0">
                <a:pos x="370" y="207"/>
              </a:cxn>
              <a:cxn ang="0">
                <a:pos x="330" y="188"/>
              </a:cxn>
              <a:cxn ang="0">
                <a:pos x="290" y="172"/>
              </a:cxn>
              <a:cxn ang="0">
                <a:pos x="273" y="160"/>
              </a:cxn>
              <a:cxn ang="0">
                <a:pos x="264" y="151"/>
              </a:cxn>
              <a:cxn ang="0">
                <a:pos x="261" y="125"/>
              </a:cxn>
              <a:cxn ang="0">
                <a:pos x="261" y="90"/>
              </a:cxn>
              <a:cxn ang="0">
                <a:pos x="255" y="71"/>
              </a:cxn>
              <a:cxn ang="0">
                <a:pos x="241" y="55"/>
              </a:cxn>
              <a:cxn ang="0">
                <a:pos x="234" y="37"/>
              </a:cxn>
              <a:cxn ang="0">
                <a:pos x="199" y="12"/>
              </a:cxn>
              <a:cxn ang="0">
                <a:pos x="186" y="8"/>
              </a:cxn>
              <a:cxn ang="0">
                <a:pos x="173" y="2"/>
              </a:cxn>
              <a:cxn ang="0">
                <a:pos x="139" y="1"/>
              </a:cxn>
              <a:cxn ang="0">
                <a:pos x="70" y="11"/>
              </a:cxn>
              <a:cxn ang="0">
                <a:pos x="42" y="21"/>
              </a:cxn>
              <a:cxn ang="0">
                <a:pos x="24" y="37"/>
              </a:cxn>
              <a:cxn ang="0">
                <a:pos x="20" y="64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/>
            <a:ahLst/>
            <a:cxnLst>
              <a:cxn ang="0">
                <a:pos x="7" y="183"/>
              </a:cxn>
              <a:cxn ang="0">
                <a:pos x="79" y="208"/>
              </a:cxn>
              <a:cxn ang="0">
                <a:pos x="85" y="207"/>
              </a:cxn>
              <a:cxn ang="0">
                <a:pos x="90" y="204"/>
              </a:cxn>
              <a:cxn ang="0">
                <a:pos x="97" y="198"/>
              </a:cxn>
              <a:cxn ang="0">
                <a:pos x="104" y="192"/>
              </a:cxn>
              <a:cxn ang="0">
                <a:pos x="117" y="176"/>
              </a:cxn>
              <a:cxn ang="0">
                <a:pos x="130" y="158"/>
              </a:cxn>
              <a:cxn ang="0">
                <a:pos x="154" y="122"/>
              </a:cxn>
              <a:cxn ang="0">
                <a:pos x="166" y="103"/>
              </a:cxn>
              <a:cxn ang="0">
                <a:pos x="144" y="94"/>
              </a:cxn>
              <a:cxn ang="0">
                <a:pos x="126" y="84"/>
              </a:cxn>
              <a:cxn ang="0">
                <a:pos x="108" y="74"/>
              </a:cxn>
              <a:cxn ang="0">
                <a:pos x="93" y="64"/>
              </a:cxn>
              <a:cxn ang="0">
                <a:pos x="86" y="58"/>
              </a:cxn>
              <a:cxn ang="0">
                <a:pos x="81" y="53"/>
              </a:cxn>
              <a:cxn ang="0">
                <a:pos x="75" y="47"/>
              </a:cxn>
              <a:cxn ang="0">
                <a:pos x="71" y="40"/>
              </a:cxn>
              <a:cxn ang="0">
                <a:pos x="67" y="33"/>
              </a:cxn>
              <a:cxn ang="0">
                <a:pos x="64" y="26"/>
              </a:cxn>
              <a:cxn ang="0">
                <a:pos x="62" y="18"/>
              </a:cxn>
              <a:cxn ang="0">
                <a:pos x="60" y="11"/>
              </a:cxn>
              <a:cxn ang="0">
                <a:pos x="50" y="10"/>
              </a:cxn>
              <a:cxn ang="0">
                <a:pos x="43" y="8"/>
              </a:cxn>
              <a:cxn ang="0">
                <a:pos x="40" y="5"/>
              </a:cxn>
              <a:cxn ang="0">
                <a:pos x="39" y="3"/>
              </a:cxn>
              <a:cxn ang="0">
                <a:pos x="38" y="1"/>
              </a:cxn>
              <a:cxn ang="0">
                <a:pos x="36" y="0"/>
              </a:cxn>
              <a:cxn ang="0">
                <a:pos x="32" y="1"/>
              </a:cxn>
              <a:cxn ang="0">
                <a:pos x="27" y="5"/>
              </a:cxn>
              <a:cxn ang="0">
                <a:pos x="20" y="11"/>
              </a:cxn>
              <a:cxn ang="0">
                <a:pos x="11" y="22"/>
              </a:cxn>
              <a:cxn ang="0">
                <a:pos x="7" y="29"/>
              </a:cxn>
              <a:cxn ang="0">
                <a:pos x="4" y="37"/>
              </a:cxn>
              <a:cxn ang="0">
                <a:pos x="2" y="45"/>
              </a:cxn>
              <a:cxn ang="0">
                <a:pos x="0" y="54"/>
              </a:cxn>
              <a:cxn ang="0">
                <a:pos x="0" y="60"/>
              </a:cxn>
              <a:cxn ang="0">
                <a:pos x="2" y="65"/>
              </a:cxn>
              <a:cxn ang="0">
                <a:pos x="3" y="70"/>
              </a:cxn>
              <a:cxn ang="0">
                <a:pos x="5" y="76"/>
              </a:cxn>
              <a:cxn ang="0">
                <a:pos x="10" y="86"/>
              </a:cxn>
              <a:cxn ang="0">
                <a:pos x="17" y="98"/>
              </a:cxn>
              <a:cxn ang="0">
                <a:pos x="22" y="109"/>
              </a:cxn>
              <a:cxn ang="0">
                <a:pos x="28" y="120"/>
              </a:cxn>
              <a:cxn ang="0">
                <a:pos x="30" y="126"/>
              </a:cxn>
              <a:cxn ang="0">
                <a:pos x="32" y="133"/>
              </a:cxn>
              <a:cxn ang="0">
                <a:pos x="33" y="139"/>
              </a:cxn>
              <a:cxn ang="0">
                <a:pos x="33" y="147"/>
              </a:cxn>
              <a:cxn ang="0">
                <a:pos x="32" y="153"/>
              </a:cxn>
              <a:cxn ang="0">
                <a:pos x="31" y="159"/>
              </a:cxn>
              <a:cxn ang="0">
                <a:pos x="28" y="165"/>
              </a:cxn>
              <a:cxn ang="0">
                <a:pos x="25" y="169"/>
              </a:cxn>
              <a:cxn ang="0">
                <a:pos x="21" y="174"/>
              </a:cxn>
              <a:cxn ang="0">
                <a:pos x="17" y="177"/>
              </a:cxn>
              <a:cxn ang="0">
                <a:pos x="11" y="180"/>
              </a:cxn>
              <a:cxn ang="0">
                <a:pos x="7" y="183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/>
            <a:ahLst/>
            <a:cxnLst>
              <a:cxn ang="0">
                <a:pos x="153" y="104"/>
              </a:cxn>
              <a:cxn ang="0">
                <a:pos x="134" y="102"/>
              </a:cxn>
              <a:cxn ang="0">
                <a:pos x="110" y="97"/>
              </a:cxn>
              <a:cxn ang="0">
                <a:pos x="96" y="94"/>
              </a:cxn>
              <a:cxn ang="0">
                <a:pos x="80" y="93"/>
              </a:cxn>
              <a:cxn ang="0">
                <a:pos x="73" y="93"/>
              </a:cxn>
              <a:cxn ang="0">
                <a:pos x="64" y="94"/>
              </a:cxn>
              <a:cxn ang="0">
                <a:pos x="55" y="96"/>
              </a:cxn>
              <a:cxn ang="0">
                <a:pos x="47" y="98"/>
              </a:cxn>
              <a:cxn ang="0">
                <a:pos x="41" y="100"/>
              </a:cxn>
              <a:cxn ang="0">
                <a:pos x="34" y="100"/>
              </a:cxn>
              <a:cxn ang="0">
                <a:pos x="27" y="99"/>
              </a:cxn>
              <a:cxn ang="0">
                <a:pos x="19" y="96"/>
              </a:cxn>
              <a:cxn ang="0">
                <a:pos x="11" y="92"/>
              </a:cxn>
              <a:cxn ang="0">
                <a:pos x="6" y="88"/>
              </a:cxn>
              <a:cxn ang="0">
                <a:pos x="3" y="86"/>
              </a:cxn>
              <a:cxn ang="0">
                <a:pos x="1" y="84"/>
              </a:cxn>
              <a:cxn ang="0">
                <a:pos x="0" y="81"/>
              </a:cxn>
              <a:cxn ang="0">
                <a:pos x="0" y="79"/>
              </a:cxn>
              <a:cxn ang="0">
                <a:pos x="0" y="76"/>
              </a:cxn>
              <a:cxn ang="0">
                <a:pos x="1" y="74"/>
              </a:cxn>
              <a:cxn ang="0">
                <a:pos x="3" y="71"/>
              </a:cxn>
              <a:cxn ang="0">
                <a:pos x="6" y="70"/>
              </a:cxn>
              <a:cxn ang="0">
                <a:pos x="12" y="67"/>
              </a:cxn>
              <a:cxn ang="0">
                <a:pos x="20" y="66"/>
              </a:cxn>
              <a:cxn ang="0">
                <a:pos x="40" y="66"/>
              </a:cxn>
              <a:cxn ang="0">
                <a:pos x="61" y="67"/>
              </a:cxn>
              <a:cxn ang="0">
                <a:pos x="70" y="67"/>
              </a:cxn>
              <a:cxn ang="0">
                <a:pos x="79" y="67"/>
              </a:cxn>
              <a:cxn ang="0">
                <a:pos x="87" y="67"/>
              </a:cxn>
              <a:cxn ang="0">
                <a:pos x="94" y="67"/>
              </a:cxn>
              <a:cxn ang="0">
                <a:pos x="94" y="56"/>
              </a:cxn>
              <a:cxn ang="0">
                <a:pos x="94" y="43"/>
              </a:cxn>
              <a:cxn ang="0">
                <a:pos x="94" y="29"/>
              </a:cxn>
              <a:cxn ang="0">
                <a:pos x="94" y="18"/>
              </a:cxn>
              <a:cxn ang="0">
                <a:pos x="79" y="17"/>
              </a:cxn>
              <a:cxn ang="0">
                <a:pos x="67" y="15"/>
              </a:cxn>
              <a:cxn ang="0">
                <a:pos x="62" y="13"/>
              </a:cxn>
              <a:cxn ang="0">
                <a:pos x="57" y="10"/>
              </a:cxn>
              <a:cxn ang="0">
                <a:pos x="52" y="6"/>
              </a:cxn>
              <a:cxn ang="0">
                <a:pos x="47" y="0"/>
              </a:cxn>
              <a:cxn ang="0">
                <a:pos x="146" y="0"/>
              </a:cxn>
              <a:cxn ang="0">
                <a:pos x="147" y="6"/>
              </a:cxn>
              <a:cxn ang="0">
                <a:pos x="148" y="13"/>
              </a:cxn>
              <a:cxn ang="0">
                <a:pos x="150" y="19"/>
              </a:cxn>
              <a:cxn ang="0">
                <a:pos x="152" y="25"/>
              </a:cxn>
              <a:cxn ang="0">
                <a:pos x="156" y="35"/>
              </a:cxn>
              <a:cxn ang="0">
                <a:pos x="159" y="46"/>
              </a:cxn>
              <a:cxn ang="0">
                <a:pos x="163" y="54"/>
              </a:cxn>
              <a:cxn ang="0">
                <a:pos x="164" y="62"/>
              </a:cxn>
              <a:cxn ang="0">
                <a:pos x="163" y="65"/>
              </a:cxn>
              <a:cxn ang="0">
                <a:pos x="160" y="68"/>
              </a:cxn>
              <a:cxn ang="0">
                <a:pos x="157" y="71"/>
              </a:cxn>
              <a:cxn ang="0">
                <a:pos x="153" y="73"/>
              </a:cxn>
              <a:cxn ang="0">
                <a:pos x="153" y="104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6"/>
              </a:cxn>
              <a:cxn ang="0">
                <a:pos x="5" y="12"/>
              </a:cxn>
              <a:cxn ang="0">
                <a:pos x="8" y="14"/>
              </a:cxn>
              <a:cxn ang="0">
                <a:pos x="11" y="16"/>
              </a:cxn>
              <a:cxn ang="0">
                <a:pos x="15" y="18"/>
              </a:cxn>
              <a:cxn ang="0">
                <a:pos x="20" y="18"/>
              </a:cxn>
              <a:cxn ang="0">
                <a:pos x="22" y="15"/>
              </a:cxn>
              <a:cxn ang="0">
                <a:pos x="24" y="13"/>
              </a:cxn>
              <a:cxn ang="0">
                <a:pos x="26" y="11"/>
              </a:cxn>
              <a:cxn ang="0">
                <a:pos x="31" y="10"/>
              </a:cxn>
              <a:cxn ang="0">
                <a:pos x="38" y="8"/>
              </a:cxn>
              <a:cxn ang="0">
                <a:pos x="47" y="7"/>
              </a:cxn>
              <a:cxn ang="0">
                <a:pos x="57" y="7"/>
              </a:cxn>
              <a:cxn ang="0">
                <a:pos x="66" y="6"/>
              </a:cxn>
              <a:cxn ang="0">
                <a:pos x="70" y="5"/>
              </a:cxn>
              <a:cxn ang="0">
                <a:pos x="74" y="4"/>
              </a:cxn>
              <a:cxn ang="0">
                <a:pos x="77" y="2"/>
              </a:cxn>
              <a:cxn ang="0">
                <a:pos x="80" y="0"/>
              </a:cxn>
              <a:cxn ang="0">
                <a:pos x="0" y="0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8"/>
              </a:cxn>
              <a:cxn ang="0">
                <a:pos x="9" y="22"/>
              </a:cxn>
              <a:cxn ang="0">
                <a:pos x="16" y="25"/>
              </a:cxn>
              <a:cxn ang="0">
                <a:pos x="23" y="27"/>
              </a:cxn>
              <a:cxn ang="0">
                <a:pos x="29" y="27"/>
              </a:cxn>
              <a:cxn ang="0">
                <a:pos x="33" y="27"/>
              </a:cxn>
              <a:cxn ang="0">
                <a:pos x="37" y="25"/>
              </a:cxn>
              <a:cxn ang="0">
                <a:pos x="42" y="22"/>
              </a:cxn>
              <a:cxn ang="0">
                <a:pos x="46" y="18"/>
              </a:cxn>
              <a:cxn ang="0">
                <a:pos x="41" y="16"/>
              </a:cxn>
              <a:cxn ang="0">
                <a:pos x="33" y="11"/>
              </a:cxn>
              <a:cxn ang="0">
                <a:pos x="26" y="5"/>
              </a:cxn>
              <a:cxn ang="0">
                <a:pos x="20" y="0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20" y="4"/>
              </a:cxn>
              <a:cxn ang="0">
                <a:pos x="10" y="10"/>
              </a:cxn>
              <a:cxn ang="0">
                <a:pos x="6" y="13"/>
              </a:cxn>
              <a:cxn ang="0">
                <a:pos x="4" y="16"/>
              </a:cxn>
              <a:cxn ang="0">
                <a:pos x="2" y="20"/>
              </a:cxn>
              <a:cxn ang="0">
                <a:pos x="0" y="24"/>
              </a:cxn>
              <a:cxn ang="0">
                <a:pos x="2" y="28"/>
              </a:cxn>
              <a:cxn ang="0">
                <a:pos x="3" y="32"/>
              </a:cxn>
              <a:cxn ang="0">
                <a:pos x="5" y="35"/>
              </a:cxn>
              <a:cxn ang="0">
                <a:pos x="8" y="37"/>
              </a:cxn>
              <a:cxn ang="0">
                <a:pos x="11" y="38"/>
              </a:cxn>
              <a:cxn ang="0">
                <a:pos x="16" y="39"/>
              </a:cxn>
              <a:cxn ang="0">
                <a:pos x="20" y="39"/>
              </a:cxn>
              <a:cxn ang="0">
                <a:pos x="25" y="39"/>
              </a:cxn>
              <a:cxn ang="0">
                <a:pos x="30" y="38"/>
              </a:cxn>
              <a:cxn ang="0">
                <a:pos x="34" y="37"/>
              </a:cxn>
              <a:cxn ang="0">
                <a:pos x="39" y="35"/>
              </a:cxn>
              <a:cxn ang="0">
                <a:pos x="43" y="33"/>
              </a:cxn>
              <a:cxn ang="0">
                <a:pos x="47" y="30"/>
              </a:cxn>
              <a:cxn ang="0">
                <a:pos x="50" y="26"/>
              </a:cxn>
              <a:cxn ang="0">
                <a:pos x="52" y="22"/>
              </a:cxn>
              <a:cxn ang="0">
                <a:pos x="54" y="18"/>
              </a:cxn>
              <a:cxn ang="0">
                <a:pos x="51" y="17"/>
              </a:cxn>
              <a:cxn ang="0">
                <a:pos x="48" y="16"/>
              </a:cxn>
              <a:cxn ang="0">
                <a:pos x="44" y="14"/>
              </a:cxn>
              <a:cxn ang="0">
                <a:pos x="42" y="11"/>
              </a:cxn>
              <a:cxn ang="0">
                <a:pos x="39" y="8"/>
              </a:cxn>
              <a:cxn ang="0">
                <a:pos x="37" y="5"/>
              </a:cxn>
              <a:cxn ang="0">
                <a:pos x="34" y="2"/>
              </a:cxn>
              <a:cxn ang="0">
                <a:pos x="34" y="0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0" y="13"/>
              </a:cxn>
              <a:cxn ang="0">
                <a:pos x="18" y="14"/>
              </a:cxn>
              <a:cxn ang="0">
                <a:pos x="27" y="15"/>
              </a:cxn>
              <a:cxn ang="0">
                <a:pos x="35" y="15"/>
              </a:cxn>
              <a:cxn ang="0">
                <a:pos x="41" y="14"/>
              </a:cxn>
              <a:cxn ang="0">
                <a:pos x="48" y="12"/>
              </a:cxn>
              <a:cxn ang="0">
                <a:pos x="55" y="9"/>
              </a:cxn>
              <a:cxn ang="0">
                <a:pos x="60" y="5"/>
              </a:cxn>
              <a:cxn ang="0">
                <a:pos x="57" y="3"/>
              </a:cxn>
              <a:cxn ang="0">
                <a:pos x="54" y="0"/>
              </a:cxn>
              <a:cxn ang="0">
                <a:pos x="51" y="0"/>
              </a:cxn>
              <a:cxn ang="0">
                <a:pos x="47" y="0"/>
              </a:cxn>
              <a:cxn ang="0">
                <a:pos x="40" y="0"/>
              </a:cxn>
              <a:cxn ang="0">
                <a:pos x="33" y="3"/>
              </a:cxn>
              <a:cxn ang="0">
                <a:pos x="24" y="6"/>
              </a:cxn>
              <a:cxn ang="0">
                <a:pos x="16" y="8"/>
              </a:cxn>
              <a:cxn ang="0">
                <a:pos x="7" y="10"/>
              </a:cxn>
              <a:cxn ang="0">
                <a:pos x="0" y="11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4" y="1"/>
              </a:cxn>
              <a:cxn ang="0">
                <a:pos x="30" y="2"/>
              </a:cxn>
              <a:cxn ang="0">
                <a:pos x="25" y="4"/>
              </a:cxn>
              <a:cxn ang="0">
                <a:pos x="20" y="6"/>
              </a:cxn>
              <a:cxn ang="0">
                <a:pos x="15" y="9"/>
              </a:cxn>
              <a:cxn ang="0">
                <a:pos x="10" y="11"/>
              </a:cxn>
              <a:cxn ang="0">
                <a:pos x="5" y="12"/>
              </a:cxn>
              <a:cxn ang="0">
                <a:pos x="0" y="13"/>
              </a:cxn>
              <a:cxn ang="0">
                <a:pos x="5" y="21"/>
              </a:cxn>
              <a:cxn ang="0">
                <a:pos x="10" y="26"/>
              </a:cxn>
              <a:cxn ang="0">
                <a:pos x="12" y="29"/>
              </a:cxn>
              <a:cxn ang="0">
                <a:pos x="15" y="31"/>
              </a:cxn>
              <a:cxn ang="0">
                <a:pos x="18" y="31"/>
              </a:cxn>
              <a:cxn ang="0">
                <a:pos x="20" y="32"/>
              </a:cxn>
              <a:cxn ang="0">
                <a:pos x="27" y="31"/>
              </a:cxn>
              <a:cxn ang="0">
                <a:pos x="34" y="30"/>
              </a:cxn>
              <a:cxn ang="0">
                <a:pos x="41" y="27"/>
              </a:cxn>
              <a:cxn ang="0">
                <a:pos x="48" y="24"/>
              </a:cxn>
              <a:cxn ang="0">
                <a:pos x="62" y="18"/>
              </a:cxn>
              <a:cxn ang="0">
                <a:pos x="79" y="13"/>
              </a:cxn>
              <a:cxn ang="0">
                <a:pos x="67" y="6"/>
              </a:cxn>
              <a:cxn ang="0">
                <a:pos x="58" y="2"/>
              </a:cxn>
              <a:cxn ang="0">
                <a:pos x="49" y="1"/>
              </a:cxn>
              <a:cxn ang="0">
                <a:pos x="40" y="0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5" y="1"/>
              </a:cxn>
              <a:cxn ang="0">
                <a:pos x="19" y="2"/>
              </a:cxn>
              <a:cxn ang="0">
                <a:pos x="13" y="4"/>
              </a:cxn>
              <a:cxn ang="0">
                <a:pos x="9" y="7"/>
              </a:cxn>
              <a:cxn ang="0">
                <a:pos x="5" y="11"/>
              </a:cxn>
              <a:cxn ang="0">
                <a:pos x="2" y="14"/>
              </a:cxn>
              <a:cxn ang="0">
                <a:pos x="0" y="17"/>
              </a:cxn>
              <a:cxn ang="0">
                <a:pos x="0" y="19"/>
              </a:cxn>
              <a:cxn ang="0">
                <a:pos x="19" y="19"/>
              </a:cxn>
              <a:cxn ang="0">
                <a:pos x="38" y="19"/>
              </a:cxn>
              <a:cxn ang="0">
                <a:pos x="46" y="18"/>
              </a:cxn>
              <a:cxn ang="0">
                <a:pos x="54" y="17"/>
              </a:cxn>
              <a:cxn ang="0">
                <a:pos x="61" y="15"/>
              </a:cxn>
              <a:cxn ang="0">
                <a:pos x="66" y="13"/>
              </a:cxn>
              <a:cxn ang="0">
                <a:pos x="57" y="8"/>
              </a:cxn>
              <a:cxn ang="0">
                <a:pos x="50" y="4"/>
              </a:cxn>
              <a:cxn ang="0">
                <a:pos x="42" y="1"/>
              </a:cxn>
              <a:cxn ang="0">
                <a:pos x="33" y="0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5"/>
              </a:cxn>
              <a:cxn ang="0">
                <a:pos x="4" y="10"/>
              </a:cxn>
              <a:cxn ang="0">
                <a:pos x="2" y="13"/>
              </a:cxn>
              <a:cxn ang="0">
                <a:pos x="1" y="16"/>
              </a:cxn>
              <a:cxn ang="0">
                <a:pos x="0" y="20"/>
              </a:cxn>
              <a:cxn ang="0">
                <a:pos x="0" y="25"/>
              </a:cxn>
              <a:cxn ang="0">
                <a:pos x="0" y="30"/>
              </a:cxn>
              <a:cxn ang="0">
                <a:pos x="2" y="39"/>
              </a:cxn>
              <a:cxn ang="0">
                <a:pos x="6" y="48"/>
              </a:cxn>
              <a:cxn ang="0">
                <a:pos x="9" y="57"/>
              </a:cxn>
              <a:cxn ang="0">
                <a:pos x="13" y="66"/>
              </a:cxn>
              <a:cxn ang="0">
                <a:pos x="20" y="73"/>
              </a:cxn>
              <a:cxn ang="0">
                <a:pos x="22" y="76"/>
              </a:cxn>
              <a:cxn ang="0">
                <a:pos x="26" y="78"/>
              </a:cxn>
              <a:cxn ang="0">
                <a:pos x="30" y="80"/>
              </a:cxn>
              <a:cxn ang="0">
                <a:pos x="33" y="80"/>
              </a:cxn>
              <a:cxn ang="0">
                <a:pos x="36" y="79"/>
              </a:cxn>
              <a:cxn ang="0">
                <a:pos x="38" y="78"/>
              </a:cxn>
              <a:cxn ang="0">
                <a:pos x="42" y="76"/>
              </a:cxn>
              <a:cxn ang="0">
                <a:pos x="45" y="73"/>
              </a:cxn>
              <a:cxn ang="0">
                <a:pos x="48" y="70"/>
              </a:cxn>
              <a:cxn ang="0">
                <a:pos x="51" y="67"/>
              </a:cxn>
              <a:cxn ang="0">
                <a:pos x="53" y="64"/>
              </a:cxn>
              <a:cxn ang="0">
                <a:pos x="53" y="62"/>
              </a:cxn>
              <a:cxn ang="0">
                <a:pos x="52" y="54"/>
              </a:cxn>
              <a:cxn ang="0">
                <a:pos x="49" y="47"/>
              </a:cxn>
              <a:cxn ang="0">
                <a:pos x="46" y="42"/>
              </a:cxn>
              <a:cxn ang="0">
                <a:pos x="43" y="37"/>
              </a:cxn>
              <a:cxn ang="0">
                <a:pos x="40" y="32"/>
              </a:cxn>
              <a:cxn ang="0">
                <a:pos x="36" y="27"/>
              </a:cxn>
              <a:cxn ang="0">
                <a:pos x="34" y="20"/>
              </a:cxn>
              <a:cxn ang="0">
                <a:pos x="33" y="12"/>
              </a:cxn>
              <a:cxn ang="0">
                <a:pos x="33" y="10"/>
              </a:cxn>
              <a:cxn ang="0">
                <a:pos x="31" y="8"/>
              </a:cxn>
              <a:cxn ang="0">
                <a:pos x="29" y="6"/>
              </a:cxn>
              <a:cxn ang="0">
                <a:pos x="25" y="4"/>
              </a:cxn>
              <a:cxn ang="0">
                <a:pos x="19" y="1"/>
              </a:cxn>
              <a:cxn ang="0">
                <a:pos x="13" y="0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27" y="43"/>
              </a:cxn>
              <a:cxn ang="0">
                <a:pos x="41" y="24"/>
              </a:cxn>
              <a:cxn ang="0">
                <a:pos x="38" y="12"/>
              </a:cxn>
              <a:cxn ang="0">
                <a:pos x="34" y="0"/>
              </a:cxn>
              <a:cxn ang="0">
                <a:pos x="27" y="4"/>
              </a:cxn>
              <a:cxn ang="0">
                <a:pos x="20" y="9"/>
              </a:cxn>
              <a:cxn ang="0">
                <a:pos x="15" y="14"/>
              </a:cxn>
              <a:cxn ang="0">
                <a:pos x="10" y="19"/>
              </a:cxn>
              <a:cxn ang="0">
                <a:pos x="6" y="24"/>
              </a:cxn>
              <a:cxn ang="0">
                <a:pos x="3" y="30"/>
              </a:cxn>
              <a:cxn ang="0">
                <a:pos x="1" y="37"/>
              </a:cxn>
              <a:cxn ang="0">
                <a:pos x="0" y="43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0"/>
              </a:cxn>
              <a:cxn ang="0">
                <a:pos x="1" y="5"/>
              </a:cxn>
              <a:cxn ang="0">
                <a:pos x="2" y="9"/>
              </a:cxn>
              <a:cxn ang="0">
                <a:pos x="4" y="13"/>
              </a:cxn>
              <a:cxn ang="0">
                <a:pos x="7" y="17"/>
              </a:cxn>
              <a:cxn ang="0">
                <a:pos x="10" y="20"/>
              </a:cxn>
              <a:cxn ang="0">
                <a:pos x="14" y="22"/>
              </a:cxn>
              <a:cxn ang="0">
                <a:pos x="17" y="24"/>
              </a:cxn>
              <a:cxn ang="0">
                <a:pos x="20" y="2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7"/>
              </a:cxn>
              <a:cxn ang="0">
                <a:pos x="6" y="22"/>
              </a:cxn>
              <a:cxn ang="0">
                <a:pos x="12" y="27"/>
              </a:cxn>
              <a:cxn ang="0">
                <a:pos x="16" y="32"/>
              </a:cxn>
              <a:cxn ang="0">
                <a:pos x="23" y="37"/>
              </a:cxn>
              <a:cxn ang="0">
                <a:pos x="28" y="40"/>
              </a:cxn>
              <a:cxn ang="0">
                <a:pos x="34" y="43"/>
              </a:cxn>
              <a:cxn ang="0">
                <a:pos x="39" y="43"/>
              </a:cxn>
              <a:cxn ang="0">
                <a:pos x="38" y="32"/>
              </a:cxn>
              <a:cxn ang="0">
                <a:pos x="36" y="19"/>
              </a:cxn>
              <a:cxn ang="0">
                <a:pos x="34" y="8"/>
              </a:cxn>
              <a:cxn ang="0">
                <a:pos x="32" y="0"/>
              </a:cxn>
              <a:cxn ang="0">
                <a:pos x="19" y="3"/>
              </a:cxn>
              <a:cxn ang="0">
                <a:pos x="6" y="6"/>
              </a:cxn>
              <a:cxn ang="0">
                <a:pos x="0" y="12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/>
            <a:ahLst/>
            <a:cxnLst>
              <a:cxn ang="0">
                <a:pos x="29" y="26"/>
              </a:cxn>
              <a:cxn ang="0">
                <a:pos x="8" y="0"/>
              </a:cxn>
              <a:cxn ang="0">
                <a:pos x="4" y="5"/>
              </a:cxn>
              <a:cxn ang="0">
                <a:pos x="1" y="11"/>
              </a:cxn>
              <a:cxn ang="0">
                <a:pos x="0" y="16"/>
              </a:cxn>
              <a:cxn ang="0">
                <a:pos x="0" y="21"/>
              </a:cxn>
              <a:cxn ang="0">
                <a:pos x="2" y="26"/>
              </a:cxn>
              <a:cxn ang="0">
                <a:pos x="4" y="31"/>
              </a:cxn>
              <a:cxn ang="0">
                <a:pos x="8" y="36"/>
              </a:cxn>
              <a:cxn ang="0">
                <a:pos x="11" y="41"/>
              </a:cxn>
              <a:cxn ang="0">
                <a:pos x="16" y="45"/>
              </a:cxn>
              <a:cxn ang="0">
                <a:pos x="21" y="49"/>
              </a:cxn>
              <a:cxn ang="0">
                <a:pos x="26" y="53"/>
              </a:cxn>
              <a:cxn ang="0">
                <a:pos x="33" y="56"/>
              </a:cxn>
              <a:cxn ang="0">
                <a:pos x="38" y="58"/>
              </a:cxn>
              <a:cxn ang="0">
                <a:pos x="44" y="60"/>
              </a:cxn>
              <a:cxn ang="0">
                <a:pos x="49" y="61"/>
              </a:cxn>
              <a:cxn ang="0">
                <a:pos x="55" y="62"/>
              </a:cxn>
              <a:cxn ang="0">
                <a:pos x="54" y="53"/>
              </a:cxn>
              <a:cxn ang="0">
                <a:pos x="53" y="46"/>
              </a:cxn>
              <a:cxn ang="0">
                <a:pos x="49" y="40"/>
              </a:cxn>
              <a:cxn ang="0">
                <a:pos x="46" y="35"/>
              </a:cxn>
              <a:cxn ang="0">
                <a:pos x="43" y="31"/>
              </a:cxn>
              <a:cxn ang="0">
                <a:pos x="38" y="28"/>
              </a:cxn>
              <a:cxn ang="0">
                <a:pos x="33" y="26"/>
              </a:cxn>
              <a:cxn ang="0">
                <a:pos x="29" y="26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/>
            <a:ahLst/>
            <a:cxnLst>
              <a:cxn ang="0">
                <a:pos x="33" y="13"/>
              </a:cxn>
              <a:cxn ang="0">
                <a:pos x="7" y="0"/>
              </a:cxn>
              <a:cxn ang="0">
                <a:pos x="4" y="8"/>
              </a:cxn>
              <a:cxn ang="0">
                <a:pos x="0" y="19"/>
              </a:cxn>
              <a:cxn ang="0">
                <a:pos x="2" y="28"/>
              </a:cxn>
              <a:cxn ang="0">
                <a:pos x="5" y="36"/>
              </a:cxn>
              <a:cxn ang="0">
                <a:pos x="6" y="39"/>
              </a:cxn>
              <a:cxn ang="0">
                <a:pos x="8" y="41"/>
              </a:cxn>
              <a:cxn ang="0">
                <a:pos x="11" y="43"/>
              </a:cxn>
              <a:cxn ang="0">
                <a:pos x="14" y="43"/>
              </a:cxn>
              <a:cxn ang="0">
                <a:pos x="18" y="43"/>
              </a:cxn>
              <a:cxn ang="0">
                <a:pos x="22" y="42"/>
              </a:cxn>
              <a:cxn ang="0">
                <a:pos x="26" y="41"/>
              </a:cxn>
              <a:cxn ang="0">
                <a:pos x="28" y="39"/>
              </a:cxn>
              <a:cxn ang="0">
                <a:pos x="31" y="35"/>
              </a:cxn>
              <a:cxn ang="0">
                <a:pos x="33" y="30"/>
              </a:cxn>
              <a:cxn ang="0">
                <a:pos x="35" y="20"/>
              </a:cxn>
              <a:cxn ang="0">
                <a:pos x="33" y="13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41" y="1"/>
              </a:cxn>
              <a:cxn ang="0">
                <a:pos x="32" y="2"/>
              </a:cxn>
              <a:cxn ang="0">
                <a:pos x="25" y="5"/>
              </a:cxn>
              <a:cxn ang="0">
                <a:pos x="21" y="7"/>
              </a:cxn>
              <a:cxn ang="0">
                <a:pos x="17" y="10"/>
              </a:cxn>
              <a:cxn ang="0">
                <a:pos x="13" y="13"/>
              </a:cxn>
              <a:cxn ang="0">
                <a:pos x="8" y="16"/>
              </a:cxn>
              <a:cxn ang="0">
                <a:pos x="0" y="18"/>
              </a:cxn>
              <a:cxn ang="0">
                <a:pos x="5" y="20"/>
              </a:cxn>
              <a:cxn ang="0">
                <a:pos x="11" y="21"/>
              </a:cxn>
              <a:cxn ang="0">
                <a:pos x="17" y="21"/>
              </a:cxn>
              <a:cxn ang="0">
                <a:pos x="24" y="21"/>
              </a:cxn>
              <a:cxn ang="0">
                <a:pos x="38" y="19"/>
              </a:cxn>
              <a:cxn ang="0">
                <a:pos x="53" y="18"/>
              </a:cxn>
              <a:cxn ang="0">
                <a:pos x="53" y="0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1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0" y="6"/>
              </a:cxn>
              <a:cxn ang="0">
                <a:pos x="1" y="10"/>
              </a:cxn>
              <a:cxn ang="0">
                <a:pos x="2" y="12"/>
              </a:cxn>
              <a:cxn ang="0">
                <a:pos x="3" y="18"/>
              </a:cxn>
              <a:cxn ang="0">
                <a:pos x="5" y="25"/>
              </a:cxn>
              <a:cxn ang="0">
                <a:pos x="10" y="30"/>
              </a:cxn>
              <a:cxn ang="0">
                <a:pos x="15" y="34"/>
              </a:cxn>
              <a:cxn ang="0">
                <a:pos x="21" y="37"/>
              </a:cxn>
              <a:cxn ang="0">
                <a:pos x="27" y="38"/>
              </a:cxn>
              <a:cxn ang="0">
                <a:pos x="35" y="38"/>
              </a:cxn>
              <a:cxn ang="0">
                <a:pos x="43" y="37"/>
              </a:cxn>
              <a:cxn ang="0">
                <a:pos x="40" y="29"/>
              </a:cxn>
              <a:cxn ang="0">
                <a:pos x="36" y="23"/>
              </a:cxn>
              <a:cxn ang="0">
                <a:pos x="33" y="17"/>
              </a:cxn>
              <a:cxn ang="0">
                <a:pos x="30" y="13"/>
              </a:cxn>
              <a:cxn ang="0">
                <a:pos x="27" y="10"/>
              </a:cxn>
              <a:cxn ang="0">
                <a:pos x="24" y="7"/>
              </a:cxn>
              <a:cxn ang="0">
                <a:pos x="23" y="4"/>
              </a:cxn>
              <a:cxn ang="0">
                <a:pos x="22" y="0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4" y="4"/>
              </a:cxn>
              <a:cxn ang="0">
                <a:pos x="7" y="5"/>
              </a:cxn>
              <a:cxn ang="0">
                <a:pos x="11" y="4"/>
              </a:cxn>
              <a:cxn ang="0">
                <a:pos x="14" y="3"/>
              </a:cxn>
              <a:cxn ang="0">
                <a:pos x="17" y="2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2" y="1"/>
              </a:cxn>
              <a:cxn ang="0">
                <a:pos x="26" y="2"/>
              </a:cxn>
              <a:cxn ang="0">
                <a:pos x="20" y="5"/>
              </a:cxn>
              <a:cxn ang="0">
                <a:pos x="15" y="8"/>
              </a:cxn>
              <a:cxn ang="0">
                <a:pos x="6" y="14"/>
              </a:cxn>
              <a:cxn ang="0">
                <a:pos x="0" y="19"/>
              </a:cxn>
              <a:cxn ang="0">
                <a:pos x="20" y="20"/>
              </a:cxn>
              <a:cxn ang="0">
                <a:pos x="39" y="22"/>
              </a:cxn>
              <a:cxn ang="0">
                <a:pos x="49" y="22"/>
              </a:cxn>
              <a:cxn ang="0">
                <a:pos x="57" y="22"/>
              </a:cxn>
              <a:cxn ang="0">
                <a:pos x="65" y="21"/>
              </a:cxn>
              <a:cxn ang="0">
                <a:pos x="73" y="19"/>
              </a:cxn>
              <a:cxn ang="0">
                <a:pos x="64" y="14"/>
              </a:cxn>
              <a:cxn ang="0">
                <a:pos x="56" y="8"/>
              </a:cxn>
              <a:cxn ang="0">
                <a:pos x="53" y="5"/>
              </a:cxn>
              <a:cxn ang="0">
                <a:pos x="49" y="2"/>
              </a:cxn>
              <a:cxn ang="0">
                <a:pos x="44" y="1"/>
              </a:cxn>
              <a:cxn ang="0">
                <a:pos x="40" y="0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/>
            <a:ahLst/>
            <a:cxnLst>
              <a:cxn ang="0">
                <a:pos x="235" y="168"/>
              </a:cxn>
              <a:cxn ang="0">
                <a:pos x="188" y="171"/>
              </a:cxn>
              <a:cxn ang="0">
                <a:pos x="168" y="168"/>
              </a:cxn>
              <a:cxn ang="0">
                <a:pos x="155" y="164"/>
              </a:cxn>
              <a:cxn ang="0">
                <a:pos x="130" y="135"/>
              </a:cxn>
              <a:cxn ang="0">
                <a:pos x="104" y="94"/>
              </a:cxn>
              <a:cxn ang="0">
                <a:pos x="94" y="74"/>
              </a:cxn>
              <a:cxn ang="0">
                <a:pos x="87" y="51"/>
              </a:cxn>
              <a:cxn ang="0">
                <a:pos x="83" y="27"/>
              </a:cxn>
              <a:cxn ang="0">
                <a:pos x="43" y="0"/>
              </a:cxn>
              <a:cxn ang="0">
                <a:pos x="28" y="52"/>
              </a:cxn>
              <a:cxn ang="0">
                <a:pos x="18" y="61"/>
              </a:cxn>
              <a:cxn ang="0">
                <a:pos x="6" y="69"/>
              </a:cxn>
              <a:cxn ang="0">
                <a:pos x="0" y="73"/>
              </a:cxn>
              <a:cxn ang="0">
                <a:pos x="1" y="75"/>
              </a:cxn>
              <a:cxn ang="0">
                <a:pos x="9" y="81"/>
              </a:cxn>
              <a:cxn ang="0">
                <a:pos x="37" y="111"/>
              </a:cxn>
              <a:cxn ang="0">
                <a:pos x="45" y="122"/>
              </a:cxn>
              <a:cxn ang="0">
                <a:pos x="53" y="129"/>
              </a:cxn>
              <a:cxn ang="0">
                <a:pos x="62" y="134"/>
              </a:cxn>
              <a:cxn ang="0">
                <a:pos x="71" y="136"/>
              </a:cxn>
              <a:cxn ang="0">
                <a:pos x="76" y="141"/>
              </a:cxn>
              <a:cxn ang="0">
                <a:pos x="79" y="148"/>
              </a:cxn>
              <a:cxn ang="0">
                <a:pos x="86" y="153"/>
              </a:cxn>
              <a:cxn ang="0">
                <a:pos x="99" y="154"/>
              </a:cxn>
              <a:cxn ang="0">
                <a:pos x="106" y="157"/>
              </a:cxn>
              <a:cxn ang="0">
                <a:pos x="109" y="163"/>
              </a:cxn>
              <a:cxn ang="0">
                <a:pos x="109" y="179"/>
              </a:cxn>
              <a:cxn ang="0">
                <a:pos x="111" y="189"/>
              </a:cxn>
              <a:cxn ang="0">
                <a:pos x="115" y="193"/>
              </a:cxn>
              <a:cxn ang="0">
                <a:pos x="129" y="193"/>
              </a:cxn>
              <a:cxn ang="0">
                <a:pos x="164" y="191"/>
              </a:cxn>
              <a:cxn ang="0">
                <a:pos x="180" y="189"/>
              </a:cxn>
              <a:cxn ang="0">
                <a:pos x="192" y="186"/>
              </a:cxn>
              <a:cxn ang="0">
                <a:pos x="212" y="188"/>
              </a:cxn>
              <a:cxn ang="0">
                <a:pos x="281" y="167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4" y="26"/>
              </a:cxn>
              <a:cxn ang="0">
                <a:pos x="10" y="33"/>
              </a:cxn>
              <a:cxn ang="0">
                <a:pos x="15" y="37"/>
              </a:cxn>
              <a:cxn ang="0">
                <a:pos x="21" y="41"/>
              </a:cxn>
              <a:cxn ang="0">
                <a:pos x="27" y="44"/>
              </a:cxn>
              <a:cxn ang="0">
                <a:pos x="35" y="46"/>
              </a:cxn>
              <a:cxn ang="0">
                <a:pos x="43" y="48"/>
              </a:cxn>
              <a:cxn ang="0">
                <a:pos x="51" y="49"/>
              </a:cxn>
              <a:cxn ang="0">
                <a:pos x="67" y="50"/>
              </a:cxn>
              <a:cxn ang="0">
                <a:pos x="85" y="51"/>
              </a:cxn>
              <a:cxn ang="0">
                <a:pos x="102" y="52"/>
              </a:cxn>
              <a:cxn ang="0">
                <a:pos x="120" y="56"/>
              </a:cxn>
              <a:cxn ang="0">
                <a:pos x="120" y="37"/>
              </a:cxn>
              <a:cxn ang="0">
                <a:pos x="111" y="34"/>
              </a:cxn>
              <a:cxn ang="0">
                <a:pos x="102" y="30"/>
              </a:cxn>
              <a:cxn ang="0">
                <a:pos x="94" y="24"/>
              </a:cxn>
              <a:cxn ang="0">
                <a:pos x="88" y="18"/>
              </a:cxn>
              <a:cxn ang="0">
                <a:pos x="81" y="13"/>
              </a:cxn>
              <a:cxn ang="0">
                <a:pos x="75" y="7"/>
              </a:cxn>
              <a:cxn ang="0">
                <a:pos x="67" y="3"/>
              </a:cxn>
              <a:cxn ang="0">
                <a:pos x="60" y="0"/>
              </a:cxn>
              <a:cxn ang="0">
                <a:pos x="55" y="1"/>
              </a:cxn>
              <a:cxn ang="0">
                <a:pos x="48" y="3"/>
              </a:cxn>
              <a:cxn ang="0">
                <a:pos x="41" y="6"/>
              </a:cxn>
              <a:cxn ang="0">
                <a:pos x="33" y="9"/>
              </a:cxn>
              <a:cxn ang="0">
                <a:pos x="24" y="13"/>
              </a:cxn>
              <a:cxn ang="0">
                <a:pos x="16" y="15"/>
              </a:cxn>
              <a:cxn ang="0">
                <a:pos x="8" y="18"/>
              </a:cxn>
              <a:cxn ang="0">
                <a:pos x="0" y="18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/>
            <a:ahLst/>
            <a:cxnLst>
              <a:cxn ang="0">
                <a:pos x="127" y="1"/>
              </a:cxn>
              <a:cxn ang="0">
                <a:pos x="95" y="6"/>
              </a:cxn>
              <a:cxn ang="0">
                <a:pos x="66" y="16"/>
              </a:cxn>
              <a:cxn ang="0">
                <a:pos x="43" y="26"/>
              </a:cxn>
              <a:cxn ang="0">
                <a:pos x="30" y="35"/>
              </a:cxn>
              <a:cxn ang="0">
                <a:pos x="16" y="51"/>
              </a:cxn>
              <a:cxn ang="0">
                <a:pos x="4" y="71"/>
              </a:cxn>
              <a:cxn ang="0">
                <a:pos x="0" y="82"/>
              </a:cxn>
              <a:cxn ang="0">
                <a:pos x="1" y="86"/>
              </a:cxn>
              <a:cxn ang="0">
                <a:pos x="13" y="86"/>
              </a:cxn>
              <a:cxn ang="0">
                <a:pos x="29" y="83"/>
              </a:cxn>
              <a:cxn ang="0">
                <a:pos x="52" y="75"/>
              </a:cxn>
              <a:cxn ang="0">
                <a:pos x="80" y="58"/>
              </a:cxn>
              <a:cxn ang="0">
                <a:pos x="102" y="46"/>
              </a:cxn>
              <a:cxn ang="0">
                <a:pos x="119" y="40"/>
              </a:cxn>
              <a:cxn ang="0">
                <a:pos x="175" y="37"/>
              </a:cxn>
              <a:cxn ang="0">
                <a:pos x="176" y="48"/>
              </a:cxn>
              <a:cxn ang="0">
                <a:pos x="180" y="55"/>
              </a:cxn>
              <a:cxn ang="0">
                <a:pos x="184" y="59"/>
              </a:cxn>
              <a:cxn ang="0">
                <a:pos x="190" y="61"/>
              </a:cxn>
              <a:cxn ang="0">
                <a:pos x="229" y="61"/>
              </a:cxn>
              <a:cxn ang="0">
                <a:pos x="269" y="78"/>
              </a:cxn>
              <a:cxn ang="0">
                <a:pos x="302" y="95"/>
              </a:cxn>
              <a:cxn ang="0">
                <a:pos x="336" y="111"/>
              </a:cxn>
              <a:cxn ang="0">
                <a:pos x="375" y="123"/>
              </a:cxn>
              <a:cxn ang="0">
                <a:pos x="376" y="134"/>
              </a:cxn>
              <a:cxn ang="0">
                <a:pos x="382" y="142"/>
              </a:cxn>
              <a:cxn ang="0">
                <a:pos x="396" y="152"/>
              </a:cxn>
              <a:cxn ang="0">
                <a:pos x="428" y="166"/>
              </a:cxn>
              <a:cxn ang="0">
                <a:pos x="402" y="191"/>
              </a:cxn>
              <a:cxn ang="0">
                <a:pos x="407" y="197"/>
              </a:cxn>
              <a:cxn ang="0">
                <a:pos x="414" y="201"/>
              </a:cxn>
              <a:cxn ang="0">
                <a:pos x="429" y="204"/>
              </a:cxn>
              <a:cxn ang="0">
                <a:pos x="461" y="204"/>
              </a:cxn>
              <a:cxn ang="0">
                <a:pos x="555" y="189"/>
              </a:cxn>
              <a:cxn ang="0">
                <a:pos x="559" y="183"/>
              </a:cxn>
              <a:cxn ang="0">
                <a:pos x="565" y="177"/>
              </a:cxn>
              <a:cxn ang="0">
                <a:pos x="572" y="173"/>
              </a:cxn>
              <a:cxn ang="0">
                <a:pos x="574" y="161"/>
              </a:cxn>
              <a:cxn ang="0">
                <a:pos x="561" y="153"/>
              </a:cxn>
              <a:cxn ang="0">
                <a:pos x="532" y="148"/>
              </a:cxn>
              <a:cxn ang="0">
                <a:pos x="504" y="138"/>
              </a:cxn>
              <a:cxn ang="0">
                <a:pos x="475" y="124"/>
              </a:cxn>
              <a:cxn ang="0">
                <a:pos x="433" y="100"/>
              </a:cxn>
              <a:cxn ang="0">
                <a:pos x="383" y="68"/>
              </a:cxn>
              <a:cxn ang="0">
                <a:pos x="358" y="54"/>
              </a:cxn>
              <a:cxn ang="0">
                <a:pos x="348" y="52"/>
              </a:cxn>
              <a:cxn ang="0">
                <a:pos x="330" y="52"/>
              </a:cxn>
              <a:cxn ang="0">
                <a:pos x="312" y="51"/>
              </a:cxn>
              <a:cxn ang="0">
                <a:pos x="302" y="49"/>
              </a:cxn>
              <a:cxn ang="0">
                <a:pos x="294" y="43"/>
              </a:cxn>
              <a:cxn ang="0">
                <a:pos x="290" y="32"/>
              </a:cxn>
              <a:cxn ang="0">
                <a:pos x="142" y="0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/>
            <a:ahLst/>
            <a:cxnLst>
              <a:cxn ang="0">
                <a:pos x="41" y="129"/>
              </a:cxn>
              <a:cxn ang="0">
                <a:pos x="50" y="121"/>
              </a:cxn>
              <a:cxn ang="0">
                <a:pos x="60" y="115"/>
              </a:cxn>
              <a:cxn ang="0">
                <a:pos x="70" y="110"/>
              </a:cxn>
              <a:cxn ang="0">
                <a:pos x="81" y="105"/>
              </a:cxn>
              <a:cxn ang="0">
                <a:pos x="105" y="99"/>
              </a:cxn>
              <a:cxn ang="0">
                <a:pos x="129" y="92"/>
              </a:cxn>
              <a:cxn ang="0">
                <a:pos x="152" y="87"/>
              </a:cxn>
              <a:cxn ang="0">
                <a:pos x="173" y="81"/>
              </a:cxn>
              <a:cxn ang="0">
                <a:pos x="182" y="77"/>
              </a:cxn>
              <a:cxn ang="0">
                <a:pos x="191" y="73"/>
              </a:cxn>
              <a:cxn ang="0">
                <a:pos x="200" y="67"/>
              </a:cxn>
              <a:cxn ang="0">
                <a:pos x="207" y="61"/>
              </a:cxn>
              <a:cxn ang="0">
                <a:pos x="198" y="54"/>
              </a:cxn>
              <a:cxn ang="0">
                <a:pos x="188" y="47"/>
              </a:cxn>
              <a:cxn ang="0">
                <a:pos x="179" y="42"/>
              </a:cxn>
              <a:cxn ang="0">
                <a:pos x="169" y="36"/>
              </a:cxn>
              <a:cxn ang="0">
                <a:pos x="150" y="29"/>
              </a:cxn>
              <a:cxn ang="0">
                <a:pos x="129" y="23"/>
              </a:cxn>
              <a:cxn ang="0">
                <a:pos x="107" y="18"/>
              </a:cxn>
              <a:cxn ang="0">
                <a:pos x="85" y="13"/>
              </a:cxn>
              <a:cxn ang="0">
                <a:pos x="63" y="7"/>
              </a:cxn>
              <a:cxn ang="0">
                <a:pos x="41" y="0"/>
              </a:cxn>
              <a:cxn ang="0">
                <a:pos x="0" y="0"/>
              </a:cxn>
              <a:cxn ang="0">
                <a:pos x="1" y="6"/>
              </a:cxn>
              <a:cxn ang="0">
                <a:pos x="2" y="13"/>
              </a:cxn>
              <a:cxn ang="0">
                <a:pos x="4" y="19"/>
              </a:cxn>
              <a:cxn ang="0">
                <a:pos x="6" y="25"/>
              </a:cxn>
              <a:cxn ang="0">
                <a:pos x="10" y="35"/>
              </a:cxn>
              <a:cxn ang="0">
                <a:pos x="13" y="46"/>
              </a:cxn>
              <a:cxn ang="0">
                <a:pos x="17" y="54"/>
              </a:cxn>
              <a:cxn ang="0">
                <a:pos x="18" y="62"/>
              </a:cxn>
              <a:cxn ang="0">
                <a:pos x="17" y="65"/>
              </a:cxn>
              <a:cxn ang="0">
                <a:pos x="14" y="68"/>
              </a:cxn>
              <a:cxn ang="0">
                <a:pos x="11" y="71"/>
              </a:cxn>
              <a:cxn ang="0">
                <a:pos x="7" y="73"/>
              </a:cxn>
              <a:cxn ang="0">
                <a:pos x="0" y="104"/>
              </a:cxn>
              <a:cxn ang="0">
                <a:pos x="4" y="106"/>
              </a:cxn>
              <a:cxn ang="0">
                <a:pos x="13" y="110"/>
              </a:cxn>
              <a:cxn ang="0">
                <a:pos x="19" y="113"/>
              </a:cxn>
              <a:cxn ang="0">
                <a:pos x="25" y="117"/>
              </a:cxn>
              <a:cxn ang="0">
                <a:pos x="33" y="122"/>
              </a:cxn>
              <a:cxn ang="0">
                <a:pos x="41" y="129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69" y="4"/>
              </a:cxn>
              <a:cxn ang="0">
                <a:pos x="67" y="9"/>
              </a:cxn>
              <a:cxn ang="0">
                <a:pos x="66" y="13"/>
              </a:cxn>
              <a:cxn ang="0">
                <a:pos x="66" y="18"/>
              </a:cxn>
              <a:cxn ang="0">
                <a:pos x="66" y="27"/>
              </a:cxn>
              <a:cxn ang="0">
                <a:pos x="66" y="37"/>
              </a:cxn>
              <a:cxn ang="0">
                <a:pos x="69" y="43"/>
              </a:cxn>
              <a:cxn ang="0">
                <a:pos x="71" y="50"/>
              </a:cxn>
              <a:cxn ang="0">
                <a:pos x="71" y="57"/>
              </a:cxn>
              <a:cxn ang="0">
                <a:pos x="71" y="65"/>
              </a:cxn>
              <a:cxn ang="0">
                <a:pos x="69" y="73"/>
              </a:cxn>
              <a:cxn ang="0">
                <a:pos x="67" y="82"/>
              </a:cxn>
              <a:cxn ang="0">
                <a:pos x="65" y="91"/>
              </a:cxn>
              <a:cxn ang="0">
                <a:pos x="61" y="100"/>
              </a:cxn>
              <a:cxn ang="0">
                <a:pos x="53" y="116"/>
              </a:cxn>
              <a:cxn ang="0">
                <a:pos x="44" y="131"/>
              </a:cxn>
              <a:cxn ang="0">
                <a:pos x="34" y="144"/>
              </a:cxn>
              <a:cxn ang="0">
                <a:pos x="26" y="154"/>
              </a:cxn>
              <a:cxn ang="0">
                <a:pos x="26" y="141"/>
              </a:cxn>
              <a:cxn ang="0">
                <a:pos x="15" y="144"/>
              </a:cxn>
              <a:cxn ang="0">
                <a:pos x="0" y="148"/>
              </a:cxn>
              <a:cxn ang="0">
                <a:pos x="3" y="129"/>
              </a:cxn>
              <a:cxn ang="0">
                <a:pos x="8" y="105"/>
              </a:cxn>
              <a:cxn ang="0">
                <a:pos x="9" y="92"/>
              </a:cxn>
              <a:cxn ang="0">
                <a:pos x="12" y="77"/>
              </a:cxn>
              <a:cxn ang="0">
                <a:pos x="15" y="63"/>
              </a:cxn>
              <a:cxn ang="0">
                <a:pos x="20" y="49"/>
              </a:cxn>
              <a:cxn ang="0">
                <a:pos x="20" y="0"/>
              </a:cxn>
              <a:cxn ang="0">
                <a:pos x="25" y="0"/>
              </a:cxn>
              <a:cxn ang="0">
                <a:pos x="38" y="0"/>
              </a:cxn>
              <a:cxn ang="0">
                <a:pos x="56" y="0"/>
              </a:cxn>
              <a:cxn ang="0">
                <a:pos x="72" y="0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/>
            <a:ahLst/>
            <a:cxnLst>
              <a:cxn ang="0">
                <a:pos x="8" y="207"/>
              </a:cxn>
              <a:cxn ang="0">
                <a:pos x="12" y="181"/>
              </a:cxn>
              <a:cxn ang="0">
                <a:pos x="24" y="148"/>
              </a:cxn>
              <a:cxn ang="0">
                <a:pos x="35" y="118"/>
              </a:cxn>
              <a:cxn ang="0">
                <a:pos x="44" y="112"/>
              </a:cxn>
              <a:cxn ang="0">
                <a:pos x="65" y="111"/>
              </a:cxn>
              <a:cxn ang="0">
                <a:pos x="89" y="111"/>
              </a:cxn>
              <a:cxn ang="0">
                <a:pos x="106" y="110"/>
              </a:cxn>
              <a:cxn ang="0">
                <a:pos x="120" y="105"/>
              </a:cxn>
              <a:cxn ang="0">
                <a:pos x="130" y="94"/>
              </a:cxn>
              <a:cxn ang="0">
                <a:pos x="113" y="73"/>
              </a:cxn>
              <a:cxn ang="0">
                <a:pos x="86" y="58"/>
              </a:cxn>
              <a:cxn ang="0">
                <a:pos x="77" y="49"/>
              </a:cxn>
              <a:cxn ang="0">
                <a:pos x="74" y="41"/>
              </a:cxn>
              <a:cxn ang="0">
                <a:pos x="75" y="34"/>
              </a:cxn>
              <a:cxn ang="0">
                <a:pos x="82" y="28"/>
              </a:cxn>
              <a:cxn ang="0">
                <a:pos x="101" y="19"/>
              </a:cxn>
              <a:cxn ang="0">
                <a:pos x="150" y="3"/>
              </a:cxn>
              <a:cxn ang="0">
                <a:pos x="180" y="0"/>
              </a:cxn>
              <a:cxn ang="0">
                <a:pos x="198" y="0"/>
              </a:cxn>
              <a:cxn ang="0">
                <a:pos x="207" y="49"/>
              </a:cxn>
              <a:cxn ang="0">
                <a:pos x="199" y="77"/>
              </a:cxn>
              <a:cxn ang="0">
                <a:pos x="195" y="105"/>
              </a:cxn>
              <a:cxn ang="0">
                <a:pos x="187" y="148"/>
              </a:cxn>
              <a:cxn ang="0">
                <a:pos x="213" y="154"/>
              </a:cxn>
              <a:cxn ang="0">
                <a:pos x="214" y="166"/>
              </a:cxn>
              <a:cxn ang="0">
                <a:pos x="210" y="174"/>
              </a:cxn>
              <a:cxn ang="0">
                <a:pos x="207" y="177"/>
              </a:cxn>
              <a:cxn ang="0">
                <a:pos x="200" y="178"/>
              </a:cxn>
              <a:cxn ang="0">
                <a:pos x="192" y="196"/>
              </a:cxn>
              <a:cxn ang="0">
                <a:pos x="181" y="214"/>
              </a:cxn>
              <a:cxn ang="0">
                <a:pos x="155" y="243"/>
              </a:cxn>
              <a:cxn ang="0">
                <a:pos x="120" y="271"/>
              </a:cxn>
              <a:cxn ang="0">
                <a:pos x="87" y="261"/>
              </a:cxn>
              <a:cxn ang="0">
                <a:pos x="55" y="248"/>
              </a:cxn>
              <a:cxn ang="0">
                <a:pos x="0" y="22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83" y="14"/>
              </a:cxn>
              <a:cxn ang="0">
                <a:pos x="104" y="24"/>
              </a:cxn>
              <a:cxn ang="0">
                <a:pos x="115" y="28"/>
              </a:cxn>
              <a:cxn ang="0">
                <a:pos x="126" y="31"/>
              </a:cxn>
              <a:cxn ang="0">
                <a:pos x="133" y="32"/>
              </a:cxn>
              <a:cxn ang="0">
                <a:pos x="139" y="32"/>
              </a:cxn>
              <a:cxn ang="0">
                <a:pos x="146" y="31"/>
              </a:cxn>
              <a:cxn ang="0">
                <a:pos x="153" y="30"/>
              </a:cxn>
              <a:cxn ang="0">
                <a:pos x="153" y="56"/>
              </a:cxn>
              <a:cxn ang="0">
                <a:pos x="149" y="60"/>
              </a:cxn>
              <a:cxn ang="0">
                <a:pos x="145" y="65"/>
              </a:cxn>
              <a:cxn ang="0">
                <a:pos x="138" y="69"/>
              </a:cxn>
              <a:cxn ang="0">
                <a:pos x="132" y="72"/>
              </a:cxn>
              <a:cxn ang="0">
                <a:pos x="125" y="75"/>
              </a:cxn>
              <a:cxn ang="0">
                <a:pos x="119" y="78"/>
              </a:cxn>
              <a:cxn ang="0">
                <a:pos x="112" y="79"/>
              </a:cxn>
              <a:cxn ang="0">
                <a:pos x="106" y="80"/>
              </a:cxn>
              <a:cxn ang="0">
                <a:pos x="90" y="74"/>
              </a:cxn>
              <a:cxn ang="0">
                <a:pos x="76" y="71"/>
              </a:cxn>
              <a:cxn ang="0">
                <a:pos x="63" y="69"/>
              </a:cxn>
              <a:cxn ang="0">
                <a:pos x="50" y="69"/>
              </a:cxn>
              <a:cxn ang="0">
                <a:pos x="39" y="68"/>
              </a:cxn>
              <a:cxn ang="0">
                <a:pos x="27" y="67"/>
              </a:cxn>
              <a:cxn ang="0">
                <a:pos x="14" y="65"/>
              </a:cxn>
              <a:cxn ang="0">
                <a:pos x="0" y="62"/>
              </a:cxn>
              <a:cxn ang="0">
                <a:pos x="7" y="58"/>
              </a:cxn>
              <a:cxn ang="0">
                <a:pos x="23" y="45"/>
              </a:cxn>
              <a:cxn ang="0">
                <a:pos x="34" y="37"/>
              </a:cxn>
              <a:cxn ang="0">
                <a:pos x="45" y="28"/>
              </a:cxn>
              <a:cxn ang="0">
                <a:pos x="56" y="17"/>
              </a:cxn>
              <a:cxn ang="0">
                <a:pos x="67" y="6"/>
              </a:cxn>
              <a:cxn ang="0">
                <a:pos x="60" y="0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/>
            <a:ahLst/>
            <a:cxnLst>
              <a:cxn ang="0">
                <a:pos x="0" y="77"/>
              </a:cxn>
              <a:cxn ang="0">
                <a:pos x="44" y="101"/>
              </a:cxn>
              <a:cxn ang="0">
                <a:pos x="66" y="108"/>
              </a:cxn>
              <a:cxn ang="0">
                <a:pos x="79" y="109"/>
              </a:cxn>
              <a:cxn ang="0">
                <a:pos x="93" y="107"/>
              </a:cxn>
              <a:cxn ang="0">
                <a:pos x="90" y="144"/>
              </a:cxn>
              <a:cxn ang="0">
                <a:pos x="95" y="154"/>
              </a:cxn>
              <a:cxn ang="0">
                <a:pos x="99" y="163"/>
              </a:cxn>
              <a:cxn ang="0">
                <a:pos x="107" y="168"/>
              </a:cxn>
              <a:cxn ang="0">
                <a:pos x="117" y="169"/>
              </a:cxn>
              <a:cxn ang="0">
                <a:pos x="123" y="166"/>
              </a:cxn>
              <a:cxn ang="0">
                <a:pos x="132" y="157"/>
              </a:cxn>
              <a:cxn ang="0">
                <a:pos x="146" y="136"/>
              </a:cxn>
              <a:cxn ang="0">
                <a:pos x="174" y="115"/>
              </a:cxn>
              <a:cxn ang="0">
                <a:pos x="214" y="96"/>
              </a:cxn>
              <a:cxn ang="0">
                <a:pos x="256" y="80"/>
              </a:cxn>
              <a:cxn ang="0">
                <a:pos x="304" y="65"/>
              </a:cxn>
              <a:cxn ang="0">
                <a:pos x="332" y="46"/>
              </a:cxn>
              <a:cxn ang="0">
                <a:pos x="332" y="22"/>
              </a:cxn>
              <a:cxn ang="0">
                <a:pos x="320" y="2"/>
              </a:cxn>
              <a:cxn ang="0">
                <a:pos x="283" y="1"/>
              </a:cxn>
              <a:cxn ang="0">
                <a:pos x="234" y="0"/>
              </a:cxn>
              <a:cxn ang="0">
                <a:pos x="180" y="1"/>
              </a:cxn>
              <a:cxn ang="0">
                <a:pos x="131" y="4"/>
              </a:cxn>
              <a:cxn ang="0">
                <a:pos x="90" y="10"/>
              </a:cxn>
              <a:cxn ang="0">
                <a:pos x="59" y="19"/>
              </a:cxn>
              <a:cxn ang="0">
                <a:pos x="42" y="22"/>
              </a:cxn>
              <a:cxn ang="0">
                <a:pos x="35" y="23"/>
              </a:cxn>
              <a:cxn ang="0">
                <a:pos x="34" y="26"/>
              </a:cxn>
              <a:cxn ang="0">
                <a:pos x="33" y="38"/>
              </a:cxn>
              <a:cxn ang="0">
                <a:pos x="29" y="44"/>
              </a:cxn>
              <a:cxn ang="0">
                <a:pos x="23" y="46"/>
              </a:cxn>
              <a:cxn ang="0">
                <a:pos x="19" y="55"/>
              </a:cxn>
              <a:cxn ang="0">
                <a:pos x="11" y="72"/>
              </a:cxn>
              <a:cxn ang="0">
                <a:pos x="7" y="83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/>
            <a:ahLst/>
            <a:cxnLst>
              <a:cxn ang="0">
                <a:pos x="44" y="86"/>
              </a:cxn>
              <a:cxn ang="0">
                <a:pos x="49" y="96"/>
              </a:cxn>
              <a:cxn ang="0">
                <a:pos x="53" y="105"/>
              </a:cxn>
              <a:cxn ang="0">
                <a:pos x="61" y="110"/>
              </a:cxn>
              <a:cxn ang="0">
                <a:pos x="71" y="111"/>
              </a:cxn>
              <a:cxn ang="0">
                <a:pos x="77" y="108"/>
              </a:cxn>
              <a:cxn ang="0">
                <a:pos x="86" y="99"/>
              </a:cxn>
              <a:cxn ang="0">
                <a:pos x="100" y="78"/>
              </a:cxn>
              <a:cxn ang="0">
                <a:pos x="128" y="57"/>
              </a:cxn>
              <a:cxn ang="0">
                <a:pos x="168" y="38"/>
              </a:cxn>
              <a:cxn ang="0">
                <a:pos x="210" y="22"/>
              </a:cxn>
              <a:cxn ang="0">
                <a:pos x="258" y="7"/>
              </a:cxn>
              <a:cxn ang="0">
                <a:pos x="286" y="11"/>
              </a:cxn>
              <a:cxn ang="0">
                <a:pos x="282" y="32"/>
              </a:cxn>
              <a:cxn ang="0">
                <a:pos x="272" y="70"/>
              </a:cxn>
              <a:cxn ang="0">
                <a:pos x="254" y="128"/>
              </a:cxn>
              <a:cxn ang="0">
                <a:pos x="244" y="174"/>
              </a:cxn>
              <a:cxn ang="0">
                <a:pos x="240" y="206"/>
              </a:cxn>
              <a:cxn ang="0">
                <a:pos x="146" y="216"/>
              </a:cxn>
              <a:cxn ang="0">
                <a:pos x="138" y="218"/>
              </a:cxn>
              <a:cxn ang="0">
                <a:pos x="132" y="223"/>
              </a:cxn>
              <a:cxn ang="0">
                <a:pos x="127" y="235"/>
              </a:cxn>
              <a:cxn ang="0">
                <a:pos x="109" y="217"/>
              </a:cxn>
              <a:cxn ang="0">
                <a:pos x="94" y="199"/>
              </a:cxn>
              <a:cxn ang="0">
                <a:pos x="69" y="160"/>
              </a:cxn>
              <a:cxn ang="0">
                <a:pos x="55" y="142"/>
              </a:cxn>
              <a:cxn ang="0">
                <a:pos x="41" y="125"/>
              </a:cxn>
              <a:cxn ang="0">
                <a:pos x="22" y="110"/>
              </a:cxn>
              <a:cxn ang="0">
                <a:pos x="0" y="99"/>
              </a:cxn>
              <a:cxn ang="0">
                <a:pos x="13" y="97"/>
              </a:cxn>
              <a:cxn ang="0">
                <a:pos x="26" y="91"/>
              </a:cxn>
              <a:cxn ang="0">
                <a:pos x="39" y="84"/>
              </a:cxn>
              <a:cxn ang="0">
                <a:pos x="47" y="7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/>
            <a:ahLst/>
            <a:cxnLst>
              <a:cxn ang="0">
                <a:pos x="188" y="185"/>
              </a:cxn>
              <a:cxn ang="0">
                <a:pos x="175" y="185"/>
              </a:cxn>
              <a:cxn ang="0">
                <a:pos x="158" y="185"/>
              </a:cxn>
              <a:cxn ang="0">
                <a:pos x="144" y="180"/>
              </a:cxn>
              <a:cxn ang="0">
                <a:pos x="136" y="173"/>
              </a:cxn>
              <a:cxn ang="0">
                <a:pos x="129" y="163"/>
              </a:cxn>
              <a:cxn ang="0">
                <a:pos x="120" y="147"/>
              </a:cxn>
              <a:cxn ang="0">
                <a:pos x="110" y="131"/>
              </a:cxn>
              <a:cxn ang="0">
                <a:pos x="99" y="121"/>
              </a:cxn>
              <a:cxn ang="0">
                <a:pos x="93" y="126"/>
              </a:cxn>
              <a:cxn ang="0">
                <a:pos x="90" y="135"/>
              </a:cxn>
              <a:cxn ang="0">
                <a:pos x="84" y="130"/>
              </a:cxn>
              <a:cxn ang="0">
                <a:pos x="72" y="113"/>
              </a:cxn>
              <a:cxn ang="0">
                <a:pos x="56" y="87"/>
              </a:cxn>
              <a:cxn ang="0">
                <a:pos x="41" y="67"/>
              </a:cxn>
              <a:cxn ang="0">
                <a:pos x="31" y="58"/>
              </a:cxn>
              <a:cxn ang="0">
                <a:pos x="26" y="60"/>
              </a:cxn>
              <a:cxn ang="0">
                <a:pos x="29" y="69"/>
              </a:cxn>
              <a:cxn ang="0">
                <a:pos x="34" y="78"/>
              </a:cxn>
              <a:cxn ang="0">
                <a:pos x="41" y="84"/>
              </a:cxn>
              <a:cxn ang="0">
                <a:pos x="46" y="105"/>
              </a:cxn>
              <a:cxn ang="0">
                <a:pos x="13" y="98"/>
              </a:cxn>
              <a:cxn ang="0">
                <a:pos x="4" y="84"/>
              </a:cxn>
              <a:cxn ang="0">
                <a:pos x="0" y="60"/>
              </a:cxn>
              <a:cxn ang="0">
                <a:pos x="0" y="38"/>
              </a:cxn>
              <a:cxn ang="0">
                <a:pos x="3" y="28"/>
              </a:cxn>
              <a:cxn ang="0">
                <a:pos x="8" y="22"/>
              </a:cxn>
              <a:cxn ang="0">
                <a:pos x="14" y="13"/>
              </a:cxn>
              <a:cxn ang="0">
                <a:pos x="20" y="4"/>
              </a:cxn>
              <a:cxn ang="0">
                <a:pos x="28" y="0"/>
              </a:cxn>
              <a:cxn ang="0">
                <a:pos x="126" y="6"/>
              </a:cxn>
              <a:cxn ang="0">
                <a:pos x="127" y="21"/>
              </a:cxn>
              <a:cxn ang="0">
                <a:pos x="130" y="37"/>
              </a:cxn>
              <a:cxn ang="0">
                <a:pos x="143" y="70"/>
              </a:cxn>
              <a:cxn ang="0">
                <a:pos x="165" y="102"/>
              </a:cxn>
              <a:cxn ang="0">
                <a:pos x="177" y="117"/>
              </a:cxn>
              <a:cxn ang="0">
                <a:pos x="192" y="130"/>
              </a:cxn>
              <a:cxn ang="0">
                <a:pos x="189" y="143"/>
              </a:cxn>
              <a:cxn ang="0">
                <a:pos x="189" y="156"/>
              </a:cxn>
              <a:cxn ang="0">
                <a:pos x="192" y="191"/>
              </a:cxn>
              <a:cxn ang="0">
                <a:pos x="205" y="185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/>
            <a:ahLst/>
            <a:cxnLst>
              <a:cxn ang="0">
                <a:pos x="3" y="58"/>
              </a:cxn>
              <a:cxn ang="0">
                <a:pos x="0" y="42"/>
              </a:cxn>
              <a:cxn ang="0">
                <a:pos x="2" y="31"/>
              </a:cxn>
              <a:cxn ang="0">
                <a:pos x="17" y="33"/>
              </a:cxn>
              <a:cxn ang="0">
                <a:pos x="36" y="41"/>
              </a:cxn>
              <a:cxn ang="0">
                <a:pos x="49" y="43"/>
              </a:cxn>
              <a:cxn ang="0">
                <a:pos x="67" y="43"/>
              </a:cxn>
              <a:cxn ang="0">
                <a:pos x="86" y="39"/>
              </a:cxn>
              <a:cxn ang="0">
                <a:pos x="110" y="30"/>
              </a:cxn>
              <a:cxn ang="0">
                <a:pos x="140" y="13"/>
              </a:cxn>
              <a:cxn ang="0">
                <a:pos x="162" y="4"/>
              </a:cxn>
              <a:cxn ang="0">
                <a:pos x="179" y="0"/>
              </a:cxn>
              <a:cxn ang="0">
                <a:pos x="203" y="0"/>
              </a:cxn>
              <a:cxn ang="0">
                <a:pos x="224" y="6"/>
              </a:cxn>
              <a:cxn ang="0">
                <a:pos x="243" y="15"/>
              </a:cxn>
              <a:cxn ang="0">
                <a:pos x="259" y="28"/>
              </a:cxn>
              <a:cxn ang="0">
                <a:pos x="280" y="46"/>
              </a:cxn>
              <a:cxn ang="0">
                <a:pos x="302" y="61"/>
              </a:cxn>
              <a:cxn ang="0">
                <a:pos x="319" y="67"/>
              </a:cxn>
              <a:cxn ang="0">
                <a:pos x="313" y="82"/>
              </a:cxn>
              <a:cxn ang="0">
                <a:pos x="293" y="106"/>
              </a:cxn>
              <a:cxn ang="0">
                <a:pos x="277" y="138"/>
              </a:cxn>
              <a:cxn ang="0">
                <a:pos x="265" y="153"/>
              </a:cxn>
              <a:cxn ang="0">
                <a:pos x="253" y="146"/>
              </a:cxn>
              <a:cxn ang="0">
                <a:pos x="240" y="136"/>
              </a:cxn>
              <a:cxn ang="0">
                <a:pos x="230" y="126"/>
              </a:cxn>
              <a:cxn ang="0">
                <a:pos x="230" y="114"/>
              </a:cxn>
              <a:cxn ang="0">
                <a:pos x="235" y="100"/>
              </a:cxn>
              <a:cxn ang="0">
                <a:pos x="249" y="86"/>
              </a:cxn>
              <a:cxn ang="0">
                <a:pos x="233" y="68"/>
              </a:cxn>
              <a:cxn ang="0">
                <a:pos x="207" y="55"/>
              </a:cxn>
              <a:cxn ang="0">
                <a:pos x="195" y="41"/>
              </a:cxn>
              <a:cxn ang="0">
                <a:pos x="179" y="34"/>
              </a:cxn>
              <a:cxn ang="0">
                <a:pos x="163" y="41"/>
              </a:cxn>
              <a:cxn ang="0">
                <a:pos x="150" y="50"/>
              </a:cxn>
              <a:cxn ang="0">
                <a:pos x="140" y="61"/>
              </a:cxn>
              <a:cxn ang="0">
                <a:pos x="132" y="74"/>
              </a:cxn>
              <a:cxn ang="0">
                <a:pos x="128" y="88"/>
              </a:cxn>
              <a:cxn ang="0">
                <a:pos x="123" y="109"/>
              </a:cxn>
              <a:cxn ang="0">
                <a:pos x="122" y="125"/>
              </a:cxn>
              <a:cxn ang="0">
                <a:pos x="118" y="129"/>
              </a:cxn>
              <a:cxn ang="0">
                <a:pos x="108" y="135"/>
              </a:cxn>
              <a:cxn ang="0">
                <a:pos x="96" y="135"/>
              </a:cxn>
              <a:cxn ang="0">
                <a:pos x="83" y="129"/>
              </a:cxn>
              <a:cxn ang="0">
                <a:pos x="66" y="116"/>
              </a:cxn>
              <a:cxn ang="0">
                <a:pos x="48" y="94"/>
              </a:cxn>
              <a:cxn ang="0">
                <a:pos x="33" y="80"/>
              </a:cxn>
              <a:cxn ang="0">
                <a:pos x="22" y="74"/>
              </a:cxn>
              <a:cxn ang="0">
                <a:pos x="3" y="73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/>
            <a:ahLst/>
            <a:cxnLst>
              <a:cxn ang="0">
                <a:pos x="297" y="181"/>
              </a:cxn>
              <a:cxn ang="0">
                <a:pos x="296" y="185"/>
              </a:cxn>
              <a:cxn ang="0">
                <a:pos x="291" y="194"/>
              </a:cxn>
              <a:cxn ang="0">
                <a:pos x="282" y="199"/>
              </a:cxn>
              <a:cxn ang="0">
                <a:pos x="272" y="201"/>
              </a:cxn>
              <a:cxn ang="0">
                <a:pos x="263" y="207"/>
              </a:cxn>
              <a:cxn ang="0">
                <a:pos x="253" y="229"/>
              </a:cxn>
              <a:cxn ang="0">
                <a:pos x="242" y="254"/>
              </a:cxn>
              <a:cxn ang="0">
                <a:pos x="231" y="267"/>
              </a:cxn>
              <a:cxn ang="0">
                <a:pos x="221" y="273"/>
              </a:cxn>
              <a:cxn ang="0">
                <a:pos x="200" y="281"/>
              </a:cxn>
              <a:cxn ang="0">
                <a:pos x="164" y="290"/>
              </a:cxn>
              <a:cxn ang="0">
                <a:pos x="139" y="293"/>
              </a:cxn>
              <a:cxn ang="0">
                <a:pos x="123" y="293"/>
              </a:cxn>
              <a:cxn ang="0">
                <a:pos x="106" y="290"/>
              </a:cxn>
              <a:cxn ang="0">
                <a:pos x="92" y="286"/>
              </a:cxn>
              <a:cxn ang="0">
                <a:pos x="80" y="278"/>
              </a:cxn>
              <a:cxn ang="0">
                <a:pos x="71" y="268"/>
              </a:cxn>
              <a:cxn ang="0">
                <a:pos x="1" y="236"/>
              </a:cxn>
              <a:cxn ang="0">
                <a:pos x="0" y="88"/>
              </a:cxn>
              <a:cxn ang="0">
                <a:pos x="1" y="49"/>
              </a:cxn>
              <a:cxn ang="0">
                <a:pos x="4" y="35"/>
              </a:cxn>
              <a:cxn ang="0">
                <a:pos x="11" y="21"/>
              </a:cxn>
              <a:cxn ang="0">
                <a:pos x="20" y="8"/>
              </a:cxn>
              <a:cxn ang="0">
                <a:pos x="41" y="2"/>
              </a:cxn>
              <a:cxn ang="0">
                <a:pos x="53" y="0"/>
              </a:cxn>
              <a:cxn ang="0">
                <a:pos x="72" y="6"/>
              </a:cxn>
              <a:cxn ang="0">
                <a:pos x="80" y="7"/>
              </a:cxn>
              <a:cxn ang="0">
                <a:pos x="84" y="4"/>
              </a:cxn>
              <a:cxn ang="0">
                <a:pos x="87" y="5"/>
              </a:cxn>
              <a:cxn ang="0">
                <a:pos x="90" y="11"/>
              </a:cxn>
              <a:cxn ang="0">
                <a:pos x="99" y="19"/>
              </a:cxn>
              <a:cxn ang="0">
                <a:pos x="121" y="31"/>
              </a:cxn>
              <a:cxn ang="0">
                <a:pos x="148" y="41"/>
              </a:cxn>
              <a:cxn ang="0">
                <a:pos x="182" y="59"/>
              </a:cxn>
              <a:cxn ang="0">
                <a:pos x="210" y="79"/>
              </a:cxn>
              <a:cxn ang="0">
                <a:pos x="241" y="102"/>
              </a:cxn>
              <a:cxn ang="0">
                <a:pos x="261" y="117"/>
              </a:cxn>
              <a:cxn ang="0">
                <a:pos x="266" y="124"/>
              </a:cxn>
              <a:cxn ang="0">
                <a:pos x="280" y="135"/>
              </a:cxn>
              <a:cxn ang="0">
                <a:pos x="299" y="151"/>
              </a:cxn>
              <a:cxn ang="0">
                <a:pos x="306" y="161"/>
              </a:cxn>
              <a:cxn ang="0">
                <a:pos x="304" y="166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/>
            <a:ahLst/>
            <a:cxnLst>
              <a:cxn ang="0">
                <a:pos x="240" y="622"/>
              </a:cxn>
              <a:cxn ang="0">
                <a:pos x="155" y="683"/>
              </a:cxn>
              <a:cxn ang="0">
                <a:pos x="32" y="654"/>
              </a:cxn>
              <a:cxn ang="0">
                <a:pos x="67" y="634"/>
              </a:cxn>
              <a:cxn ang="0">
                <a:pos x="18" y="596"/>
              </a:cxn>
              <a:cxn ang="0">
                <a:pos x="44" y="595"/>
              </a:cxn>
              <a:cxn ang="0">
                <a:pos x="67" y="567"/>
              </a:cxn>
              <a:cxn ang="0">
                <a:pos x="8" y="546"/>
              </a:cxn>
              <a:cxn ang="0">
                <a:pos x="74" y="523"/>
              </a:cxn>
              <a:cxn ang="0">
                <a:pos x="0" y="499"/>
              </a:cxn>
              <a:cxn ang="0">
                <a:pos x="20" y="456"/>
              </a:cxn>
              <a:cxn ang="0">
                <a:pos x="37" y="461"/>
              </a:cxn>
              <a:cxn ang="0">
                <a:pos x="77" y="449"/>
              </a:cxn>
              <a:cxn ang="0">
                <a:pos x="92" y="424"/>
              </a:cxn>
              <a:cxn ang="0">
                <a:pos x="130" y="409"/>
              </a:cxn>
              <a:cxn ang="0">
                <a:pos x="220" y="382"/>
              </a:cxn>
              <a:cxn ang="0">
                <a:pos x="227" y="339"/>
              </a:cxn>
              <a:cxn ang="0">
                <a:pos x="283" y="325"/>
              </a:cxn>
              <a:cxn ang="0">
                <a:pos x="282" y="310"/>
              </a:cxn>
              <a:cxn ang="0">
                <a:pos x="298" y="285"/>
              </a:cxn>
              <a:cxn ang="0">
                <a:pos x="335" y="243"/>
              </a:cxn>
              <a:cxn ang="0">
                <a:pos x="343" y="226"/>
              </a:cxn>
              <a:cxn ang="0">
                <a:pos x="390" y="200"/>
              </a:cxn>
              <a:cxn ang="0">
                <a:pos x="387" y="157"/>
              </a:cxn>
              <a:cxn ang="0">
                <a:pos x="373" y="142"/>
              </a:cxn>
              <a:cxn ang="0">
                <a:pos x="334" y="154"/>
              </a:cxn>
              <a:cxn ang="0">
                <a:pos x="390" y="103"/>
              </a:cxn>
              <a:cxn ang="0">
                <a:pos x="411" y="96"/>
              </a:cxn>
              <a:cxn ang="0">
                <a:pos x="463" y="114"/>
              </a:cxn>
              <a:cxn ang="0">
                <a:pos x="466" y="91"/>
              </a:cxn>
              <a:cxn ang="0">
                <a:pos x="558" y="61"/>
              </a:cxn>
              <a:cxn ang="0">
                <a:pos x="591" y="63"/>
              </a:cxn>
              <a:cxn ang="0">
                <a:pos x="645" y="55"/>
              </a:cxn>
              <a:cxn ang="0">
                <a:pos x="645" y="33"/>
              </a:cxn>
              <a:cxn ang="0">
                <a:pos x="699" y="13"/>
              </a:cxn>
              <a:cxn ang="0">
                <a:pos x="705" y="29"/>
              </a:cxn>
              <a:cxn ang="0">
                <a:pos x="712" y="40"/>
              </a:cxn>
              <a:cxn ang="0">
                <a:pos x="758" y="12"/>
              </a:cxn>
              <a:cxn ang="0">
                <a:pos x="817" y="6"/>
              </a:cxn>
              <a:cxn ang="0">
                <a:pos x="844" y="8"/>
              </a:cxn>
              <a:cxn ang="0">
                <a:pos x="862" y="11"/>
              </a:cxn>
              <a:cxn ang="0">
                <a:pos x="924" y="6"/>
              </a:cxn>
              <a:cxn ang="0">
                <a:pos x="1037" y="43"/>
              </a:cxn>
              <a:cxn ang="0">
                <a:pos x="1005" y="79"/>
              </a:cxn>
              <a:cxn ang="0">
                <a:pos x="930" y="55"/>
              </a:cxn>
              <a:cxn ang="0">
                <a:pos x="873" y="74"/>
              </a:cxn>
              <a:cxn ang="0">
                <a:pos x="848" y="116"/>
              </a:cxn>
              <a:cxn ang="0">
                <a:pos x="811" y="111"/>
              </a:cxn>
              <a:cxn ang="0">
                <a:pos x="745" y="128"/>
              </a:cxn>
              <a:cxn ang="0">
                <a:pos x="694" y="92"/>
              </a:cxn>
              <a:cxn ang="0">
                <a:pos x="620" y="112"/>
              </a:cxn>
              <a:cxn ang="0">
                <a:pos x="534" y="134"/>
              </a:cxn>
              <a:cxn ang="0">
                <a:pos x="486" y="210"/>
              </a:cxn>
              <a:cxn ang="0">
                <a:pos x="430" y="279"/>
              </a:cxn>
              <a:cxn ang="0">
                <a:pos x="399" y="364"/>
              </a:cxn>
              <a:cxn ang="0">
                <a:pos x="333" y="425"/>
              </a:cxn>
              <a:cxn ang="0">
                <a:pos x="355" y="497"/>
              </a:cxn>
              <a:cxn ang="0">
                <a:pos x="354" y="558"/>
              </a:cxn>
              <a:cxn ang="0">
                <a:pos x="331" y="615"/>
              </a:cxn>
              <a:cxn ang="0">
                <a:pos x="295" y="645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/>
            <a:ahLst/>
            <a:cxnLst>
              <a:cxn ang="0">
                <a:pos x="120" y="99"/>
              </a:cxn>
              <a:cxn ang="0">
                <a:pos x="92" y="60"/>
              </a:cxn>
              <a:cxn ang="0">
                <a:pos x="70" y="28"/>
              </a:cxn>
              <a:cxn ang="0">
                <a:pos x="60" y="16"/>
              </a:cxn>
              <a:cxn ang="0">
                <a:pos x="53" y="8"/>
              </a:cxn>
              <a:cxn ang="0">
                <a:pos x="48" y="4"/>
              </a:cxn>
              <a:cxn ang="0">
                <a:pos x="45" y="2"/>
              </a:cxn>
              <a:cxn ang="0">
                <a:pos x="43" y="1"/>
              </a:cxn>
              <a:cxn ang="0">
                <a:pos x="39" y="0"/>
              </a:cxn>
              <a:cxn ang="0">
                <a:pos x="33" y="0"/>
              </a:cxn>
              <a:cxn ang="0">
                <a:pos x="27" y="1"/>
              </a:cxn>
              <a:cxn ang="0">
                <a:pos x="24" y="3"/>
              </a:cxn>
              <a:cxn ang="0">
                <a:pos x="21" y="5"/>
              </a:cxn>
              <a:cxn ang="0">
                <a:pos x="19" y="8"/>
              </a:cxn>
              <a:cxn ang="0">
                <a:pos x="16" y="12"/>
              </a:cxn>
              <a:cxn ang="0">
                <a:pos x="15" y="15"/>
              </a:cxn>
              <a:cxn ang="0">
                <a:pos x="15" y="20"/>
              </a:cxn>
              <a:cxn ang="0">
                <a:pos x="14" y="30"/>
              </a:cxn>
              <a:cxn ang="0">
                <a:pos x="12" y="42"/>
              </a:cxn>
              <a:cxn ang="0">
                <a:pos x="10" y="48"/>
              </a:cxn>
              <a:cxn ang="0">
                <a:pos x="8" y="54"/>
              </a:cxn>
              <a:cxn ang="0">
                <a:pos x="4" y="61"/>
              </a:cxn>
              <a:cxn ang="0">
                <a:pos x="0" y="68"/>
              </a:cxn>
              <a:cxn ang="0">
                <a:pos x="5" y="82"/>
              </a:cxn>
              <a:cxn ang="0">
                <a:pos x="10" y="99"/>
              </a:cxn>
              <a:cxn ang="0">
                <a:pos x="15" y="115"/>
              </a:cxn>
              <a:cxn ang="0">
                <a:pos x="20" y="129"/>
              </a:cxn>
              <a:cxn ang="0">
                <a:pos x="24" y="134"/>
              </a:cxn>
              <a:cxn ang="0">
                <a:pos x="30" y="139"/>
              </a:cxn>
              <a:cxn ang="0">
                <a:pos x="37" y="145"/>
              </a:cxn>
              <a:cxn ang="0">
                <a:pos x="46" y="151"/>
              </a:cxn>
              <a:cxn ang="0">
                <a:pos x="54" y="157"/>
              </a:cxn>
              <a:cxn ang="0">
                <a:pos x="60" y="163"/>
              </a:cxn>
              <a:cxn ang="0">
                <a:pos x="62" y="165"/>
              </a:cxn>
              <a:cxn ang="0">
                <a:pos x="65" y="168"/>
              </a:cxn>
              <a:cxn ang="0">
                <a:pos x="66" y="170"/>
              </a:cxn>
              <a:cxn ang="0">
                <a:pos x="67" y="173"/>
              </a:cxn>
              <a:cxn ang="0">
                <a:pos x="76" y="167"/>
              </a:cxn>
              <a:cxn ang="0">
                <a:pos x="86" y="160"/>
              </a:cxn>
              <a:cxn ang="0">
                <a:pos x="93" y="152"/>
              </a:cxn>
              <a:cxn ang="0">
                <a:pos x="101" y="142"/>
              </a:cxn>
              <a:cxn ang="0">
                <a:pos x="106" y="132"/>
              </a:cxn>
              <a:cxn ang="0">
                <a:pos x="112" y="121"/>
              </a:cxn>
              <a:cxn ang="0">
                <a:pos x="116" y="110"/>
              </a:cxn>
              <a:cxn ang="0">
                <a:pos x="120" y="9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/>
            <a:ahLst/>
            <a:cxnLst>
              <a:cxn ang="0">
                <a:pos x="200" y="55"/>
              </a:cxn>
              <a:cxn ang="0">
                <a:pos x="195" y="56"/>
              </a:cxn>
              <a:cxn ang="0">
                <a:pos x="186" y="60"/>
              </a:cxn>
              <a:cxn ang="0">
                <a:pos x="177" y="65"/>
              </a:cxn>
              <a:cxn ang="0">
                <a:pos x="166" y="73"/>
              </a:cxn>
              <a:cxn ang="0">
                <a:pos x="155" y="80"/>
              </a:cxn>
              <a:cxn ang="0">
                <a:pos x="145" y="87"/>
              </a:cxn>
              <a:cxn ang="0">
                <a:pos x="137" y="93"/>
              </a:cxn>
              <a:cxn ang="0">
                <a:pos x="133" y="98"/>
              </a:cxn>
              <a:cxn ang="0">
                <a:pos x="127" y="98"/>
              </a:cxn>
              <a:cxn ang="0">
                <a:pos x="122" y="98"/>
              </a:cxn>
              <a:cxn ang="0">
                <a:pos x="116" y="97"/>
              </a:cxn>
              <a:cxn ang="0">
                <a:pos x="111" y="95"/>
              </a:cxn>
              <a:cxn ang="0">
                <a:pos x="106" y="93"/>
              </a:cxn>
              <a:cxn ang="0">
                <a:pos x="103" y="88"/>
              </a:cxn>
              <a:cxn ang="0">
                <a:pos x="101" y="82"/>
              </a:cxn>
              <a:cxn ang="0">
                <a:pos x="100" y="74"/>
              </a:cxn>
              <a:cxn ang="0">
                <a:pos x="91" y="80"/>
              </a:cxn>
              <a:cxn ang="0">
                <a:pos x="82" y="86"/>
              </a:cxn>
              <a:cxn ang="0">
                <a:pos x="78" y="90"/>
              </a:cxn>
              <a:cxn ang="0">
                <a:pos x="72" y="93"/>
              </a:cxn>
              <a:cxn ang="0">
                <a:pos x="67" y="96"/>
              </a:cxn>
              <a:cxn ang="0">
                <a:pos x="60" y="98"/>
              </a:cxn>
              <a:cxn ang="0">
                <a:pos x="39" y="98"/>
              </a:cxn>
              <a:cxn ang="0">
                <a:pos x="34" y="98"/>
              </a:cxn>
              <a:cxn ang="0">
                <a:pos x="28" y="95"/>
              </a:cxn>
              <a:cxn ang="0">
                <a:pos x="22" y="92"/>
              </a:cxn>
              <a:cxn ang="0">
                <a:pos x="15" y="89"/>
              </a:cxn>
              <a:cxn ang="0">
                <a:pos x="9" y="85"/>
              </a:cxn>
              <a:cxn ang="0">
                <a:pos x="4" y="81"/>
              </a:cxn>
              <a:cxn ang="0">
                <a:pos x="1" y="77"/>
              </a:cxn>
              <a:cxn ang="0">
                <a:pos x="0" y="74"/>
              </a:cxn>
              <a:cxn ang="0">
                <a:pos x="5" y="71"/>
              </a:cxn>
              <a:cxn ang="0">
                <a:pos x="10" y="67"/>
              </a:cxn>
              <a:cxn ang="0">
                <a:pos x="14" y="60"/>
              </a:cxn>
              <a:cxn ang="0">
                <a:pos x="20" y="53"/>
              </a:cxn>
              <a:cxn ang="0">
                <a:pos x="23" y="45"/>
              </a:cxn>
              <a:cxn ang="0">
                <a:pos x="27" y="37"/>
              </a:cxn>
              <a:cxn ang="0">
                <a:pos x="30" y="28"/>
              </a:cxn>
              <a:cxn ang="0">
                <a:pos x="33" y="19"/>
              </a:cxn>
              <a:cxn ang="0">
                <a:pos x="66" y="14"/>
              </a:cxn>
              <a:cxn ang="0">
                <a:pos x="103" y="9"/>
              </a:cxn>
              <a:cxn ang="0">
                <a:pos x="145" y="4"/>
              </a:cxn>
              <a:cxn ang="0">
                <a:pos x="193" y="0"/>
              </a:cxn>
              <a:cxn ang="0">
                <a:pos x="166" y="31"/>
              </a:cxn>
              <a:cxn ang="0">
                <a:pos x="166" y="34"/>
              </a:cxn>
              <a:cxn ang="0">
                <a:pos x="164" y="37"/>
              </a:cxn>
              <a:cxn ang="0">
                <a:pos x="162" y="39"/>
              </a:cxn>
              <a:cxn ang="0">
                <a:pos x="161" y="41"/>
              </a:cxn>
              <a:cxn ang="0">
                <a:pos x="157" y="45"/>
              </a:cxn>
              <a:cxn ang="0">
                <a:pos x="156" y="47"/>
              </a:cxn>
              <a:cxn ang="0">
                <a:pos x="156" y="49"/>
              </a:cxn>
              <a:cxn ang="0">
                <a:pos x="157" y="50"/>
              </a:cxn>
              <a:cxn ang="0">
                <a:pos x="159" y="50"/>
              </a:cxn>
              <a:cxn ang="0">
                <a:pos x="163" y="51"/>
              </a:cxn>
              <a:cxn ang="0">
                <a:pos x="177" y="53"/>
              </a:cxn>
              <a:cxn ang="0">
                <a:pos x="200" y="55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" y="116"/>
              </a:cxn>
              <a:cxn ang="0">
                <a:pos x="3" y="107"/>
              </a:cxn>
              <a:cxn ang="0">
                <a:pos x="3" y="93"/>
              </a:cxn>
              <a:cxn ang="0">
                <a:pos x="9" y="82"/>
              </a:cxn>
              <a:cxn ang="0">
                <a:pos x="17" y="69"/>
              </a:cxn>
              <a:cxn ang="0">
                <a:pos x="20" y="56"/>
              </a:cxn>
              <a:cxn ang="0">
                <a:pos x="23" y="46"/>
              </a:cxn>
              <a:cxn ang="0">
                <a:pos x="28" y="37"/>
              </a:cxn>
              <a:cxn ang="0">
                <a:pos x="35" y="32"/>
              </a:cxn>
              <a:cxn ang="0">
                <a:pos x="41" y="38"/>
              </a:cxn>
              <a:cxn ang="0">
                <a:pos x="43" y="49"/>
              </a:cxn>
              <a:cxn ang="0">
                <a:pos x="47" y="58"/>
              </a:cxn>
              <a:cxn ang="0">
                <a:pos x="55" y="65"/>
              </a:cxn>
              <a:cxn ang="0">
                <a:pos x="87" y="67"/>
              </a:cxn>
              <a:cxn ang="0">
                <a:pos x="79" y="41"/>
              </a:cxn>
              <a:cxn ang="0">
                <a:pos x="69" y="36"/>
              </a:cxn>
              <a:cxn ang="0">
                <a:pos x="63" y="30"/>
              </a:cxn>
              <a:cxn ang="0">
                <a:pos x="61" y="23"/>
              </a:cxn>
              <a:cxn ang="0">
                <a:pos x="70" y="17"/>
              </a:cxn>
              <a:cxn ang="0">
                <a:pos x="87" y="14"/>
              </a:cxn>
              <a:cxn ang="0">
                <a:pos x="98" y="10"/>
              </a:cxn>
              <a:cxn ang="0">
                <a:pos x="111" y="6"/>
              </a:cxn>
              <a:cxn ang="0">
                <a:pos x="130" y="3"/>
              </a:cxn>
              <a:cxn ang="0">
                <a:pos x="147" y="1"/>
              </a:cxn>
              <a:cxn ang="0">
                <a:pos x="159" y="2"/>
              </a:cxn>
              <a:cxn ang="0">
                <a:pos x="176" y="1"/>
              </a:cxn>
              <a:cxn ang="0">
                <a:pos x="183" y="10"/>
              </a:cxn>
              <a:cxn ang="0">
                <a:pos x="178" y="26"/>
              </a:cxn>
              <a:cxn ang="0">
                <a:pos x="169" y="40"/>
              </a:cxn>
              <a:cxn ang="0">
                <a:pos x="159" y="51"/>
              </a:cxn>
              <a:cxn ang="0">
                <a:pos x="155" y="63"/>
              </a:cxn>
              <a:cxn ang="0">
                <a:pos x="153" y="76"/>
              </a:cxn>
              <a:cxn ang="0">
                <a:pos x="120" y="142"/>
              </a:cxn>
              <a:cxn ang="0">
                <a:pos x="80" y="122"/>
              </a:cxn>
              <a:cxn ang="0">
                <a:pos x="35" y="117"/>
              </a:cxn>
              <a:cxn ang="0">
                <a:pos x="8" y="11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/>
            <a:ahLst/>
            <a:cxnLst>
              <a:cxn ang="0">
                <a:pos x="192" y="61"/>
              </a:cxn>
              <a:cxn ang="0">
                <a:pos x="189" y="62"/>
              </a:cxn>
              <a:cxn ang="0">
                <a:pos x="184" y="63"/>
              </a:cxn>
              <a:cxn ang="0">
                <a:pos x="180" y="64"/>
              </a:cxn>
              <a:cxn ang="0">
                <a:pos x="177" y="67"/>
              </a:cxn>
              <a:cxn ang="0">
                <a:pos x="168" y="72"/>
              </a:cxn>
              <a:cxn ang="0">
                <a:pos x="160" y="79"/>
              </a:cxn>
              <a:cxn ang="0">
                <a:pos x="154" y="86"/>
              </a:cxn>
              <a:cxn ang="0">
                <a:pos x="147" y="93"/>
              </a:cxn>
              <a:cxn ang="0">
                <a:pos x="143" y="99"/>
              </a:cxn>
              <a:cxn ang="0">
                <a:pos x="139" y="105"/>
              </a:cxn>
              <a:cxn ang="0">
                <a:pos x="120" y="97"/>
              </a:cxn>
              <a:cxn ang="0">
                <a:pos x="102" y="89"/>
              </a:cxn>
              <a:cxn ang="0">
                <a:pos x="86" y="80"/>
              </a:cxn>
              <a:cxn ang="0">
                <a:pos x="69" y="71"/>
              </a:cxn>
              <a:cxn ang="0">
                <a:pos x="53" y="61"/>
              </a:cxn>
              <a:cxn ang="0">
                <a:pos x="36" y="53"/>
              </a:cxn>
              <a:cxn ang="0">
                <a:pos x="19" y="44"/>
              </a:cxn>
              <a:cxn ang="0">
                <a:pos x="0" y="37"/>
              </a:cxn>
              <a:cxn ang="0">
                <a:pos x="0" y="13"/>
              </a:cxn>
              <a:cxn ang="0">
                <a:pos x="7" y="7"/>
              </a:cxn>
              <a:cxn ang="0">
                <a:pos x="16" y="4"/>
              </a:cxn>
              <a:cxn ang="0">
                <a:pos x="29" y="1"/>
              </a:cxn>
              <a:cxn ang="0">
                <a:pos x="40" y="0"/>
              </a:cxn>
              <a:cxn ang="0">
                <a:pos x="60" y="2"/>
              </a:cxn>
              <a:cxn ang="0">
                <a:pos x="93" y="5"/>
              </a:cxn>
              <a:cxn ang="0">
                <a:pos x="111" y="7"/>
              </a:cxn>
              <a:cxn ang="0">
                <a:pos x="128" y="7"/>
              </a:cxn>
              <a:cxn ang="0">
                <a:pos x="143" y="7"/>
              </a:cxn>
              <a:cxn ang="0">
                <a:pos x="153" y="6"/>
              </a:cxn>
              <a:cxn ang="0">
                <a:pos x="155" y="11"/>
              </a:cxn>
              <a:cxn ang="0">
                <a:pos x="159" y="17"/>
              </a:cxn>
              <a:cxn ang="0">
                <a:pos x="161" y="20"/>
              </a:cxn>
              <a:cxn ang="0">
                <a:pos x="164" y="23"/>
              </a:cxn>
              <a:cxn ang="0">
                <a:pos x="165" y="27"/>
              </a:cxn>
              <a:cxn ang="0">
                <a:pos x="166" y="31"/>
              </a:cxn>
              <a:cxn ang="0">
                <a:pos x="170" y="32"/>
              </a:cxn>
              <a:cxn ang="0">
                <a:pos x="177" y="33"/>
              </a:cxn>
              <a:cxn ang="0">
                <a:pos x="180" y="34"/>
              </a:cxn>
              <a:cxn ang="0">
                <a:pos x="183" y="34"/>
              </a:cxn>
              <a:cxn ang="0">
                <a:pos x="188" y="33"/>
              </a:cxn>
              <a:cxn ang="0">
                <a:pos x="192" y="31"/>
              </a:cxn>
              <a:cxn ang="0">
                <a:pos x="192" y="61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7" y="2"/>
              </a:cxn>
              <a:cxn ang="0">
                <a:pos x="40" y="4"/>
              </a:cxn>
              <a:cxn ang="0">
                <a:pos x="43" y="7"/>
              </a:cxn>
              <a:cxn ang="0">
                <a:pos x="46" y="10"/>
              </a:cxn>
              <a:cxn ang="0">
                <a:pos x="52" y="18"/>
              </a:cxn>
              <a:cxn ang="0">
                <a:pos x="56" y="25"/>
              </a:cxn>
              <a:cxn ang="0">
                <a:pos x="62" y="32"/>
              </a:cxn>
              <a:cxn ang="0">
                <a:pos x="67" y="38"/>
              </a:cxn>
              <a:cxn ang="0">
                <a:pos x="70" y="40"/>
              </a:cxn>
              <a:cxn ang="0">
                <a:pos x="73" y="42"/>
              </a:cxn>
              <a:cxn ang="0">
                <a:pos x="76" y="43"/>
              </a:cxn>
              <a:cxn ang="0">
                <a:pos x="80" y="44"/>
              </a:cxn>
              <a:cxn ang="0">
                <a:pos x="80" y="53"/>
              </a:cxn>
              <a:cxn ang="0">
                <a:pos x="80" y="62"/>
              </a:cxn>
              <a:cxn ang="0">
                <a:pos x="53" y="254"/>
              </a:cxn>
              <a:cxn ang="0">
                <a:pos x="0" y="93"/>
              </a:cxn>
              <a:cxn ang="0">
                <a:pos x="4" y="88"/>
              </a:cxn>
              <a:cxn ang="0">
                <a:pos x="11" y="71"/>
              </a:cxn>
              <a:cxn ang="0">
                <a:pos x="17" y="57"/>
              </a:cxn>
              <a:cxn ang="0">
                <a:pos x="22" y="41"/>
              </a:cxn>
              <a:cxn ang="0">
                <a:pos x="28" y="23"/>
              </a:cxn>
              <a:cxn ang="0">
                <a:pos x="33" y="0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67" y="155"/>
              </a:cxn>
              <a:cxn ang="0">
                <a:pos x="121" y="259"/>
              </a:cxn>
              <a:cxn ang="0">
                <a:pos x="113" y="259"/>
              </a:cxn>
              <a:cxn ang="0">
                <a:pos x="107" y="257"/>
              </a:cxn>
              <a:cxn ang="0">
                <a:pos x="100" y="254"/>
              </a:cxn>
              <a:cxn ang="0">
                <a:pos x="95" y="251"/>
              </a:cxn>
              <a:cxn ang="0">
                <a:pos x="89" y="245"/>
              </a:cxn>
              <a:cxn ang="0">
                <a:pos x="85" y="240"/>
              </a:cxn>
              <a:cxn ang="0">
                <a:pos x="80" y="235"/>
              </a:cxn>
              <a:cxn ang="0">
                <a:pos x="76" y="229"/>
              </a:cxn>
              <a:cxn ang="0">
                <a:pos x="69" y="217"/>
              </a:cxn>
              <a:cxn ang="0">
                <a:pos x="65" y="205"/>
              </a:cxn>
              <a:cxn ang="0">
                <a:pos x="62" y="194"/>
              </a:cxn>
              <a:cxn ang="0">
                <a:pos x="62" y="185"/>
              </a:cxn>
              <a:cxn ang="0">
                <a:pos x="55" y="184"/>
              </a:cxn>
              <a:cxn ang="0">
                <a:pos x="51" y="183"/>
              </a:cxn>
              <a:cxn ang="0">
                <a:pos x="45" y="182"/>
              </a:cxn>
              <a:cxn ang="0">
                <a:pos x="42" y="180"/>
              </a:cxn>
              <a:cxn ang="0">
                <a:pos x="39" y="177"/>
              </a:cxn>
              <a:cxn ang="0">
                <a:pos x="36" y="174"/>
              </a:cxn>
              <a:cxn ang="0">
                <a:pos x="34" y="170"/>
              </a:cxn>
              <a:cxn ang="0">
                <a:pos x="32" y="167"/>
              </a:cxn>
              <a:cxn ang="0">
                <a:pos x="30" y="158"/>
              </a:cxn>
              <a:cxn ang="0">
                <a:pos x="29" y="149"/>
              </a:cxn>
              <a:cxn ang="0">
                <a:pos x="28" y="140"/>
              </a:cxn>
              <a:cxn ang="0">
                <a:pos x="28" y="129"/>
              </a:cxn>
              <a:cxn ang="0">
                <a:pos x="21" y="129"/>
              </a:cxn>
              <a:cxn ang="0">
                <a:pos x="16" y="127"/>
              </a:cxn>
              <a:cxn ang="0">
                <a:pos x="11" y="125"/>
              </a:cxn>
              <a:cxn ang="0">
                <a:pos x="7" y="121"/>
              </a:cxn>
              <a:cxn ang="0">
                <a:pos x="5" y="117"/>
              </a:cxn>
              <a:cxn ang="0">
                <a:pos x="2" y="112"/>
              </a:cxn>
              <a:cxn ang="0">
                <a:pos x="0" y="107"/>
              </a:cxn>
              <a:cxn ang="0">
                <a:pos x="0" y="101"/>
              </a:cxn>
              <a:cxn ang="0">
                <a:pos x="0" y="75"/>
              </a:cxn>
              <a:cxn ang="0">
                <a:pos x="1" y="50"/>
              </a:cxn>
              <a:cxn ang="0">
                <a:pos x="12" y="52"/>
              </a:cxn>
              <a:cxn ang="0">
                <a:pos x="22" y="53"/>
              </a:cxn>
              <a:cxn ang="0">
                <a:pos x="32" y="53"/>
              </a:cxn>
              <a:cxn ang="0">
                <a:pos x="42" y="52"/>
              </a:cxn>
              <a:cxn ang="0">
                <a:pos x="50" y="51"/>
              </a:cxn>
              <a:cxn ang="0">
                <a:pos x="58" y="49"/>
              </a:cxn>
              <a:cxn ang="0">
                <a:pos x="66" y="47"/>
              </a:cxn>
              <a:cxn ang="0">
                <a:pos x="73" y="44"/>
              </a:cxn>
              <a:cxn ang="0">
                <a:pos x="79" y="40"/>
              </a:cxn>
              <a:cxn ang="0">
                <a:pos x="86" y="36"/>
              </a:cxn>
              <a:cxn ang="0">
                <a:pos x="91" y="31"/>
              </a:cxn>
              <a:cxn ang="0">
                <a:pos x="97" y="26"/>
              </a:cxn>
              <a:cxn ang="0">
                <a:pos x="107" y="13"/>
              </a:cxn>
              <a:cxn ang="0">
                <a:pos x="114" y="0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/>
            <a:ahLst/>
            <a:cxnLst>
              <a:cxn ang="0">
                <a:pos x="185" y="67"/>
              </a:cxn>
              <a:cxn ang="0">
                <a:pos x="173" y="78"/>
              </a:cxn>
              <a:cxn ang="0">
                <a:pos x="159" y="82"/>
              </a:cxn>
              <a:cxn ang="0">
                <a:pos x="163" y="93"/>
              </a:cxn>
              <a:cxn ang="0">
                <a:pos x="174" y="101"/>
              </a:cxn>
              <a:cxn ang="0">
                <a:pos x="195" y="105"/>
              </a:cxn>
              <a:cxn ang="0">
                <a:pos x="225" y="106"/>
              </a:cxn>
              <a:cxn ang="0">
                <a:pos x="225" y="152"/>
              </a:cxn>
              <a:cxn ang="0">
                <a:pos x="224" y="176"/>
              </a:cxn>
              <a:cxn ang="0">
                <a:pos x="215" y="187"/>
              </a:cxn>
              <a:cxn ang="0">
                <a:pos x="197" y="205"/>
              </a:cxn>
              <a:cxn ang="0">
                <a:pos x="192" y="214"/>
              </a:cxn>
              <a:cxn ang="0">
                <a:pos x="179" y="218"/>
              </a:cxn>
              <a:cxn ang="0">
                <a:pos x="164" y="225"/>
              </a:cxn>
              <a:cxn ang="0">
                <a:pos x="159" y="236"/>
              </a:cxn>
              <a:cxn ang="0">
                <a:pos x="140" y="242"/>
              </a:cxn>
              <a:cxn ang="0">
                <a:pos x="128" y="252"/>
              </a:cxn>
              <a:cxn ang="0">
                <a:pos x="101" y="255"/>
              </a:cxn>
              <a:cxn ang="0">
                <a:pos x="60" y="261"/>
              </a:cxn>
              <a:cxn ang="0">
                <a:pos x="19" y="261"/>
              </a:cxn>
              <a:cxn ang="0">
                <a:pos x="0" y="217"/>
              </a:cxn>
              <a:cxn ang="0">
                <a:pos x="21" y="212"/>
              </a:cxn>
              <a:cxn ang="0">
                <a:pos x="26" y="205"/>
              </a:cxn>
              <a:cxn ang="0">
                <a:pos x="60" y="202"/>
              </a:cxn>
              <a:cxn ang="0">
                <a:pos x="72" y="193"/>
              </a:cxn>
              <a:cxn ang="0">
                <a:pos x="48" y="198"/>
              </a:cxn>
              <a:cxn ang="0">
                <a:pos x="40" y="197"/>
              </a:cxn>
              <a:cxn ang="0">
                <a:pos x="39" y="188"/>
              </a:cxn>
              <a:cxn ang="0">
                <a:pos x="46" y="173"/>
              </a:cxn>
              <a:cxn ang="0">
                <a:pos x="39" y="160"/>
              </a:cxn>
              <a:cxn ang="0">
                <a:pos x="14" y="150"/>
              </a:cxn>
              <a:cxn ang="0">
                <a:pos x="6" y="130"/>
              </a:cxn>
              <a:cxn ang="0">
                <a:pos x="22" y="115"/>
              </a:cxn>
              <a:cxn ang="0">
                <a:pos x="35" y="102"/>
              </a:cxn>
              <a:cxn ang="0">
                <a:pos x="68" y="94"/>
              </a:cxn>
              <a:cxn ang="0">
                <a:pos x="90" y="94"/>
              </a:cxn>
              <a:cxn ang="0">
                <a:pos x="100" y="88"/>
              </a:cxn>
              <a:cxn ang="0">
                <a:pos x="108" y="52"/>
              </a:cxn>
              <a:cxn ang="0">
                <a:pos x="120" y="31"/>
              </a:cxn>
              <a:cxn ang="0">
                <a:pos x="130" y="20"/>
              </a:cxn>
              <a:cxn ang="0">
                <a:pos x="141" y="7"/>
              </a:cxn>
              <a:cxn ang="0">
                <a:pos x="155" y="1"/>
              </a:cxn>
              <a:cxn ang="0">
                <a:pos x="179" y="3"/>
              </a:cxn>
              <a:cxn ang="0">
                <a:pos x="195" y="38"/>
              </a:cxn>
              <a:cxn ang="0">
                <a:pos x="196" y="47"/>
              </a:cxn>
              <a:cxn ang="0">
                <a:pos x="190" y="56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/>
            <a:ahLst/>
            <a:cxnLst>
              <a:cxn ang="0">
                <a:pos x="94" y="246"/>
              </a:cxn>
              <a:cxn ang="0">
                <a:pos x="96" y="243"/>
              </a:cxn>
              <a:cxn ang="0">
                <a:pos x="98" y="238"/>
              </a:cxn>
              <a:cxn ang="0">
                <a:pos x="100" y="232"/>
              </a:cxn>
              <a:cxn ang="0">
                <a:pos x="103" y="231"/>
              </a:cxn>
              <a:cxn ang="0">
                <a:pos x="104" y="238"/>
              </a:cxn>
              <a:cxn ang="0">
                <a:pos x="106" y="241"/>
              </a:cxn>
              <a:cxn ang="0">
                <a:pos x="108" y="242"/>
              </a:cxn>
              <a:cxn ang="0">
                <a:pos x="110" y="242"/>
              </a:cxn>
              <a:cxn ang="0">
                <a:pos x="113" y="241"/>
              </a:cxn>
              <a:cxn ang="0">
                <a:pos x="116" y="238"/>
              </a:cxn>
              <a:cxn ang="0">
                <a:pos x="216" y="234"/>
              </a:cxn>
              <a:cxn ang="0">
                <a:pos x="213" y="204"/>
              </a:cxn>
              <a:cxn ang="0">
                <a:pos x="207" y="138"/>
              </a:cxn>
              <a:cxn ang="0">
                <a:pos x="201" y="73"/>
              </a:cxn>
              <a:cxn ang="0">
                <a:pos x="198" y="43"/>
              </a:cxn>
              <a:cxn ang="0">
                <a:pos x="215" y="44"/>
              </a:cxn>
              <a:cxn ang="0">
                <a:pos x="232" y="46"/>
              </a:cxn>
              <a:cxn ang="0">
                <a:pos x="161" y="2"/>
              </a:cxn>
              <a:cxn ang="0">
                <a:pos x="160" y="8"/>
              </a:cxn>
              <a:cxn ang="0">
                <a:pos x="161" y="18"/>
              </a:cxn>
              <a:cxn ang="0">
                <a:pos x="98" y="24"/>
              </a:cxn>
              <a:cxn ang="0">
                <a:pos x="98" y="74"/>
              </a:cxn>
              <a:cxn ang="0">
                <a:pos x="95" y="76"/>
              </a:cxn>
              <a:cxn ang="0">
                <a:pos x="87" y="78"/>
              </a:cxn>
              <a:cxn ang="0">
                <a:pos x="72" y="82"/>
              </a:cxn>
              <a:cxn ang="0">
                <a:pos x="74" y="88"/>
              </a:cxn>
              <a:cxn ang="0">
                <a:pos x="78" y="96"/>
              </a:cxn>
              <a:cxn ang="0">
                <a:pos x="80" y="105"/>
              </a:cxn>
              <a:cxn ang="0">
                <a:pos x="81" y="115"/>
              </a:cxn>
              <a:cxn ang="0">
                <a:pos x="9" y="119"/>
              </a:cxn>
              <a:cxn ang="0">
                <a:pos x="5" y="130"/>
              </a:cxn>
              <a:cxn ang="0">
                <a:pos x="6" y="143"/>
              </a:cxn>
              <a:cxn ang="0">
                <a:pos x="8" y="155"/>
              </a:cxn>
              <a:cxn ang="0">
                <a:pos x="9" y="168"/>
              </a:cxn>
              <a:cxn ang="0">
                <a:pos x="9" y="182"/>
              </a:cxn>
              <a:cxn ang="0">
                <a:pos x="8" y="194"/>
              </a:cxn>
              <a:cxn ang="0">
                <a:pos x="6" y="206"/>
              </a:cxn>
              <a:cxn ang="0">
                <a:pos x="2" y="216"/>
              </a:cxn>
              <a:cxn ang="0">
                <a:pos x="2" y="219"/>
              </a:cxn>
              <a:cxn ang="0">
                <a:pos x="3" y="220"/>
              </a:cxn>
              <a:cxn ang="0">
                <a:pos x="3" y="222"/>
              </a:cxn>
              <a:cxn ang="0">
                <a:pos x="7" y="217"/>
              </a:cxn>
              <a:cxn ang="0">
                <a:pos x="18" y="213"/>
              </a:cxn>
              <a:cxn ang="0">
                <a:pos x="36" y="207"/>
              </a:cxn>
              <a:cxn ang="0">
                <a:pos x="45" y="208"/>
              </a:cxn>
              <a:cxn ang="0">
                <a:pos x="51" y="212"/>
              </a:cxn>
              <a:cxn ang="0">
                <a:pos x="56" y="214"/>
              </a:cxn>
              <a:cxn ang="0">
                <a:pos x="62" y="215"/>
              </a:cxn>
              <a:cxn ang="0">
                <a:pos x="66" y="219"/>
              </a:cxn>
              <a:cxn ang="0">
                <a:pos x="67" y="225"/>
              </a:cxn>
              <a:cxn ang="0">
                <a:pos x="70" y="231"/>
              </a:cxn>
              <a:cxn ang="0">
                <a:pos x="74" y="235"/>
              </a:cxn>
              <a:cxn ang="0">
                <a:pos x="85" y="243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/>
            <a:ahLst/>
            <a:cxnLst>
              <a:cxn ang="0">
                <a:pos x="90" y="788"/>
              </a:cxn>
              <a:cxn ang="0">
                <a:pos x="121" y="788"/>
              </a:cxn>
              <a:cxn ang="0">
                <a:pos x="146" y="783"/>
              </a:cxn>
              <a:cxn ang="0">
                <a:pos x="186" y="776"/>
              </a:cxn>
              <a:cxn ang="0">
                <a:pos x="197" y="813"/>
              </a:cxn>
              <a:cxn ang="0">
                <a:pos x="212" y="835"/>
              </a:cxn>
              <a:cxn ang="0">
                <a:pos x="226" y="846"/>
              </a:cxn>
              <a:cxn ang="0">
                <a:pos x="246" y="850"/>
              </a:cxn>
              <a:cxn ang="0">
                <a:pos x="246" y="881"/>
              </a:cxn>
              <a:cxn ang="0">
                <a:pos x="326" y="889"/>
              </a:cxn>
              <a:cxn ang="0">
                <a:pos x="334" y="876"/>
              </a:cxn>
              <a:cxn ang="0">
                <a:pos x="347" y="871"/>
              </a:cxn>
              <a:cxn ang="0">
                <a:pos x="348" y="888"/>
              </a:cxn>
              <a:cxn ang="0">
                <a:pos x="358" y="893"/>
              </a:cxn>
              <a:cxn ang="0">
                <a:pos x="385" y="893"/>
              </a:cxn>
              <a:cxn ang="0">
                <a:pos x="401" y="854"/>
              </a:cxn>
              <a:cxn ang="0">
                <a:pos x="412" y="788"/>
              </a:cxn>
              <a:cxn ang="0">
                <a:pos x="424" y="771"/>
              </a:cxn>
              <a:cxn ang="0">
                <a:pos x="452" y="754"/>
              </a:cxn>
              <a:cxn ang="0">
                <a:pos x="485" y="743"/>
              </a:cxn>
              <a:cxn ang="0">
                <a:pos x="501" y="729"/>
              </a:cxn>
              <a:cxn ang="0">
                <a:pos x="515" y="702"/>
              </a:cxn>
              <a:cxn ang="0">
                <a:pos x="535" y="668"/>
              </a:cxn>
              <a:cxn ang="0">
                <a:pos x="547" y="660"/>
              </a:cxn>
              <a:cxn ang="0">
                <a:pos x="572" y="659"/>
              </a:cxn>
              <a:cxn ang="0">
                <a:pos x="605" y="644"/>
              </a:cxn>
              <a:cxn ang="0">
                <a:pos x="639" y="624"/>
              </a:cxn>
              <a:cxn ang="0">
                <a:pos x="674" y="613"/>
              </a:cxn>
              <a:cxn ang="0">
                <a:pos x="724" y="610"/>
              </a:cxn>
              <a:cxn ang="0">
                <a:pos x="788" y="602"/>
              </a:cxn>
              <a:cxn ang="0">
                <a:pos x="815" y="594"/>
              </a:cxn>
              <a:cxn ang="0">
                <a:pos x="863" y="590"/>
              </a:cxn>
              <a:cxn ang="0">
                <a:pos x="901" y="583"/>
              </a:cxn>
              <a:cxn ang="0">
                <a:pos x="913" y="574"/>
              </a:cxn>
              <a:cxn ang="0">
                <a:pos x="931" y="544"/>
              </a:cxn>
              <a:cxn ang="0">
                <a:pos x="943" y="504"/>
              </a:cxn>
              <a:cxn ang="0">
                <a:pos x="948" y="461"/>
              </a:cxn>
              <a:cxn ang="0">
                <a:pos x="947" y="421"/>
              </a:cxn>
              <a:cxn ang="0">
                <a:pos x="943" y="363"/>
              </a:cxn>
              <a:cxn ang="0">
                <a:pos x="922" y="356"/>
              </a:cxn>
              <a:cxn ang="0">
                <a:pos x="862" y="322"/>
              </a:cxn>
              <a:cxn ang="0">
                <a:pos x="794" y="278"/>
              </a:cxn>
              <a:cxn ang="0">
                <a:pos x="738" y="216"/>
              </a:cxn>
              <a:cxn ang="0">
                <a:pos x="412" y="12"/>
              </a:cxn>
              <a:cxn ang="0">
                <a:pos x="348" y="102"/>
              </a:cxn>
              <a:cxn ang="0">
                <a:pos x="379" y="405"/>
              </a:cxn>
              <a:cxn ang="0">
                <a:pos x="392" y="565"/>
              </a:cxn>
              <a:cxn ang="0">
                <a:pos x="93" y="591"/>
              </a:cxn>
              <a:cxn ang="0">
                <a:pos x="79" y="606"/>
              </a:cxn>
              <a:cxn ang="0">
                <a:pos x="67" y="610"/>
              </a:cxn>
              <a:cxn ang="0">
                <a:pos x="57" y="607"/>
              </a:cxn>
              <a:cxn ang="0">
                <a:pos x="49" y="591"/>
              </a:cxn>
              <a:cxn ang="0">
                <a:pos x="40" y="581"/>
              </a:cxn>
              <a:cxn ang="0">
                <a:pos x="29" y="605"/>
              </a:cxn>
              <a:cxn ang="0">
                <a:pos x="15" y="623"/>
              </a:cxn>
              <a:cxn ang="0">
                <a:pos x="67" y="733"/>
              </a:cxn>
              <a:cxn ang="0">
                <a:pos x="61" y="748"/>
              </a:cxn>
              <a:cxn ang="0">
                <a:pos x="62" y="760"/>
              </a:cxn>
              <a:cxn ang="0">
                <a:pos x="54" y="788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/>
            <a:ahLst/>
            <a:cxnLst>
              <a:cxn ang="0">
                <a:pos x="238" y="367"/>
              </a:cxn>
              <a:cxn ang="0">
                <a:pos x="244" y="365"/>
              </a:cxn>
              <a:cxn ang="0">
                <a:pos x="255" y="368"/>
              </a:cxn>
              <a:cxn ang="0">
                <a:pos x="372" y="277"/>
              </a:cxn>
              <a:cxn ang="0">
                <a:pos x="369" y="270"/>
              </a:cxn>
              <a:cxn ang="0">
                <a:pos x="361" y="264"/>
              </a:cxn>
              <a:cxn ang="0">
                <a:pos x="347" y="259"/>
              </a:cxn>
              <a:cxn ang="0">
                <a:pos x="339" y="254"/>
              </a:cxn>
              <a:cxn ang="0">
                <a:pos x="336" y="247"/>
              </a:cxn>
              <a:cxn ang="0">
                <a:pos x="337" y="228"/>
              </a:cxn>
              <a:cxn ang="0">
                <a:pos x="337" y="196"/>
              </a:cxn>
              <a:cxn ang="0">
                <a:pos x="334" y="168"/>
              </a:cxn>
              <a:cxn ang="0">
                <a:pos x="329" y="155"/>
              </a:cxn>
              <a:cxn ang="0">
                <a:pos x="323" y="142"/>
              </a:cxn>
              <a:cxn ang="0">
                <a:pos x="315" y="109"/>
              </a:cxn>
              <a:cxn ang="0">
                <a:pos x="306" y="90"/>
              </a:cxn>
              <a:cxn ang="0">
                <a:pos x="297" y="78"/>
              </a:cxn>
              <a:cxn ang="0">
                <a:pos x="300" y="63"/>
              </a:cxn>
              <a:cxn ang="0">
                <a:pos x="301" y="43"/>
              </a:cxn>
              <a:cxn ang="0">
                <a:pos x="302" y="23"/>
              </a:cxn>
              <a:cxn ang="0">
                <a:pos x="310" y="7"/>
              </a:cxn>
              <a:cxn ang="0">
                <a:pos x="302" y="6"/>
              </a:cxn>
              <a:cxn ang="0">
                <a:pos x="278" y="12"/>
              </a:cxn>
              <a:cxn ang="0">
                <a:pos x="245" y="12"/>
              </a:cxn>
              <a:cxn ang="0">
                <a:pos x="206" y="14"/>
              </a:cxn>
              <a:cxn ang="0">
                <a:pos x="168" y="24"/>
              </a:cxn>
              <a:cxn ang="0">
                <a:pos x="145" y="32"/>
              </a:cxn>
              <a:cxn ang="0">
                <a:pos x="124" y="44"/>
              </a:cxn>
              <a:cxn ang="0">
                <a:pos x="123" y="52"/>
              </a:cxn>
              <a:cxn ang="0">
                <a:pos x="131" y="89"/>
              </a:cxn>
              <a:cxn ang="0">
                <a:pos x="134" y="93"/>
              </a:cxn>
              <a:cxn ang="0">
                <a:pos x="141" y="98"/>
              </a:cxn>
              <a:cxn ang="0">
                <a:pos x="142" y="102"/>
              </a:cxn>
              <a:cxn ang="0">
                <a:pos x="139" y="107"/>
              </a:cxn>
              <a:cxn ang="0">
                <a:pos x="128" y="107"/>
              </a:cxn>
              <a:cxn ang="0">
                <a:pos x="106" y="113"/>
              </a:cxn>
              <a:cxn ang="0">
                <a:pos x="95" y="122"/>
              </a:cxn>
              <a:cxn ang="0">
                <a:pos x="90" y="131"/>
              </a:cxn>
              <a:cxn ang="0">
                <a:pos x="82" y="137"/>
              </a:cxn>
              <a:cxn ang="0">
                <a:pos x="66" y="150"/>
              </a:cxn>
              <a:cxn ang="0">
                <a:pos x="51" y="158"/>
              </a:cxn>
              <a:cxn ang="0">
                <a:pos x="31" y="160"/>
              </a:cxn>
              <a:cxn ang="0">
                <a:pos x="20" y="164"/>
              </a:cxn>
              <a:cxn ang="0">
                <a:pos x="8" y="174"/>
              </a:cxn>
              <a:cxn ang="0">
                <a:pos x="0" y="200"/>
              </a:cxn>
              <a:cxn ang="0">
                <a:pos x="179" y="331"/>
              </a:cxn>
              <a:cxn ang="0">
                <a:pos x="201" y="352"/>
              </a:cxn>
              <a:cxn ang="0">
                <a:pos x="229" y="368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/>
            <a:ahLst/>
            <a:cxnLst>
              <a:cxn ang="0">
                <a:pos x="36" y="141"/>
              </a:cxn>
              <a:cxn ang="0">
                <a:pos x="46" y="109"/>
              </a:cxn>
              <a:cxn ang="0">
                <a:pos x="46" y="70"/>
              </a:cxn>
              <a:cxn ang="0">
                <a:pos x="61" y="64"/>
              </a:cxn>
              <a:cxn ang="0">
                <a:pos x="89" y="55"/>
              </a:cxn>
              <a:cxn ang="0">
                <a:pos x="99" y="20"/>
              </a:cxn>
              <a:cxn ang="0">
                <a:pos x="168" y="6"/>
              </a:cxn>
              <a:cxn ang="0">
                <a:pos x="242" y="24"/>
              </a:cxn>
              <a:cxn ang="0">
                <a:pos x="273" y="43"/>
              </a:cxn>
              <a:cxn ang="0">
                <a:pos x="285" y="78"/>
              </a:cxn>
              <a:cxn ang="0">
                <a:pos x="295" y="101"/>
              </a:cxn>
              <a:cxn ang="0">
                <a:pos x="325" y="110"/>
              </a:cxn>
              <a:cxn ang="0">
                <a:pos x="363" y="109"/>
              </a:cxn>
              <a:cxn ang="0">
                <a:pos x="421" y="133"/>
              </a:cxn>
              <a:cxn ang="0">
                <a:pos x="478" y="162"/>
              </a:cxn>
              <a:cxn ang="0">
                <a:pos x="513" y="166"/>
              </a:cxn>
              <a:cxn ang="0">
                <a:pos x="538" y="158"/>
              </a:cxn>
              <a:cxn ang="0">
                <a:pos x="549" y="126"/>
              </a:cxn>
              <a:cxn ang="0">
                <a:pos x="544" y="103"/>
              </a:cxn>
              <a:cxn ang="0">
                <a:pos x="531" y="81"/>
              </a:cxn>
              <a:cxn ang="0">
                <a:pos x="539" y="49"/>
              </a:cxn>
              <a:cxn ang="0">
                <a:pos x="574" y="34"/>
              </a:cxn>
              <a:cxn ang="0">
                <a:pos x="617" y="4"/>
              </a:cxn>
              <a:cxn ang="0">
                <a:pos x="650" y="0"/>
              </a:cxn>
              <a:cxn ang="0">
                <a:pos x="681" y="6"/>
              </a:cxn>
              <a:cxn ang="0">
                <a:pos x="695" y="24"/>
              </a:cxn>
              <a:cxn ang="0">
                <a:pos x="706" y="50"/>
              </a:cxn>
              <a:cxn ang="0">
                <a:pos x="728" y="63"/>
              </a:cxn>
              <a:cxn ang="0">
                <a:pos x="798" y="71"/>
              </a:cxn>
              <a:cxn ang="0">
                <a:pos x="830" y="97"/>
              </a:cxn>
              <a:cxn ang="0">
                <a:pos x="834" y="117"/>
              </a:cxn>
              <a:cxn ang="0">
                <a:pos x="843" y="140"/>
              </a:cxn>
              <a:cxn ang="0">
                <a:pos x="836" y="159"/>
              </a:cxn>
              <a:cxn ang="0">
                <a:pos x="824" y="170"/>
              </a:cxn>
              <a:cxn ang="0">
                <a:pos x="829" y="207"/>
              </a:cxn>
              <a:cxn ang="0">
                <a:pos x="858" y="245"/>
              </a:cxn>
              <a:cxn ang="0">
                <a:pos x="876" y="687"/>
              </a:cxn>
              <a:cxn ang="0">
                <a:pos x="877" y="741"/>
              </a:cxn>
              <a:cxn ang="0">
                <a:pos x="870" y="775"/>
              </a:cxn>
              <a:cxn ang="0">
                <a:pos x="848" y="783"/>
              </a:cxn>
              <a:cxn ang="0">
                <a:pos x="830" y="804"/>
              </a:cxn>
              <a:cxn ang="0">
                <a:pos x="366" y="593"/>
              </a:cxn>
              <a:cxn ang="0">
                <a:pos x="331" y="607"/>
              </a:cxn>
              <a:cxn ang="0">
                <a:pos x="292" y="626"/>
              </a:cxn>
              <a:cxn ang="0">
                <a:pos x="263" y="627"/>
              </a:cxn>
              <a:cxn ang="0">
                <a:pos x="230" y="609"/>
              </a:cxn>
              <a:cxn ang="0">
                <a:pos x="193" y="586"/>
              </a:cxn>
              <a:cxn ang="0">
                <a:pos x="152" y="578"/>
              </a:cxn>
              <a:cxn ang="0">
                <a:pos x="138" y="577"/>
              </a:cxn>
              <a:cxn ang="0">
                <a:pos x="130" y="553"/>
              </a:cxn>
              <a:cxn ang="0">
                <a:pos x="109" y="535"/>
              </a:cxn>
              <a:cxn ang="0">
                <a:pos x="63" y="517"/>
              </a:cxn>
              <a:cxn ang="0">
                <a:pos x="28" y="499"/>
              </a:cxn>
              <a:cxn ang="0">
                <a:pos x="16" y="482"/>
              </a:cxn>
              <a:cxn ang="0">
                <a:pos x="14" y="439"/>
              </a:cxn>
              <a:cxn ang="0">
                <a:pos x="19" y="352"/>
              </a:cxn>
              <a:cxn ang="0">
                <a:pos x="17" y="258"/>
              </a:cxn>
              <a:cxn ang="0">
                <a:pos x="4" y="202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/>
            <a:ahLst/>
            <a:cxnLst>
              <a:cxn ang="0">
                <a:pos x="103" y="441"/>
              </a:cxn>
              <a:cxn ang="0">
                <a:pos x="125" y="420"/>
              </a:cxn>
              <a:cxn ang="0">
                <a:pos x="140" y="404"/>
              </a:cxn>
              <a:cxn ang="0">
                <a:pos x="147" y="390"/>
              </a:cxn>
              <a:cxn ang="0">
                <a:pos x="152" y="373"/>
              </a:cxn>
              <a:cxn ang="0">
                <a:pos x="154" y="352"/>
              </a:cxn>
              <a:cxn ang="0">
                <a:pos x="153" y="335"/>
              </a:cxn>
              <a:cxn ang="0">
                <a:pos x="156" y="331"/>
              </a:cxn>
              <a:cxn ang="0">
                <a:pos x="168" y="329"/>
              </a:cxn>
              <a:cxn ang="0">
                <a:pos x="185" y="325"/>
              </a:cxn>
              <a:cxn ang="0">
                <a:pos x="196" y="318"/>
              </a:cxn>
              <a:cxn ang="0">
                <a:pos x="203" y="304"/>
              </a:cxn>
              <a:cxn ang="0">
                <a:pos x="206" y="280"/>
              </a:cxn>
              <a:cxn ang="0">
                <a:pos x="202" y="265"/>
              </a:cxn>
              <a:cxn ang="0">
                <a:pos x="193" y="264"/>
              </a:cxn>
              <a:cxn ang="0">
                <a:pos x="177" y="256"/>
              </a:cxn>
              <a:cxn ang="0">
                <a:pos x="155" y="242"/>
              </a:cxn>
              <a:cxn ang="0">
                <a:pos x="140" y="231"/>
              </a:cxn>
              <a:cxn ang="0">
                <a:pos x="130" y="228"/>
              </a:cxn>
              <a:cxn ang="0">
                <a:pos x="119" y="222"/>
              </a:cxn>
              <a:cxn ang="0">
                <a:pos x="101" y="212"/>
              </a:cxn>
              <a:cxn ang="0">
                <a:pos x="95" y="206"/>
              </a:cxn>
              <a:cxn ang="0">
                <a:pos x="95" y="199"/>
              </a:cxn>
              <a:cxn ang="0">
                <a:pos x="104" y="181"/>
              </a:cxn>
              <a:cxn ang="0">
                <a:pos x="119" y="158"/>
              </a:cxn>
              <a:cxn ang="0">
                <a:pos x="134" y="140"/>
              </a:cxn>
              <a:cxn ang="0">
                <a:pos x="136" y="129"/>
              </a:cxn>
              <a:cxn ang="0">
                <a:pos x="126" y="116"/>
              </a:cxn>
              <a:cxn ang="0">
                <a:pos x="115" y="105"/>
              </a:cxn>
              <a:cxn ang="0">
                <a:pos x="108" y="93"/>
              </a:cxn>
              <a:cxn ang="0">
                <a:pos x="107" y="84"/>
              </a:cxn>
              <a:cxn ang="0">
                <a:pos x="111" y="78"/>
              </a:cxn>
              <a:cxn ang="0">
                <a:pos x="116" y="72"/>
              </a:cxn>
              <a:cxn ang="0">
                <a:pos x="123" y="69"/>
              </a:cxn>
              <a:cxn ang="0">
                <a:pos x="126" y="37"/>
              </a:cxn>
              <a:cxn ang="0">
                <a:pos x="110" y="32"/>
              </a:cxn>
              <a:cxn ang="0">
                <a:pos x="87" y="21"/>
              </a:cxn>
              <a:cxn ang="0">
                <a:pos x="53" y="0"/>
              </a:cxn>
              <a:cxn ang="0">
                <a:pos x="47" y="11"/>
              </a:cxn>
              <a:cxn ang="0">
                <a:pos x="34" y="44"/>
              </a:cxn>
              <a:cxn ang="0">
                <a:pos x="28" y="70"/>
              </a:cxn>
              <a:cxn ang="0">
                <a:pos x="22" y="99"/>
              </a:cxn>
              <a:cxn ang="0">
                <a:pos x="20" y="133"/>
              </a:cxn>
              <a:cxn ang="0">
                <a:pos x="20" y="172"/>
              </a:cxn>
              <a:cxn ang="0">
                <a:pos x="12" y="188"/>
              </a:cxn>
              <a:cxn ang="0">
                <a:pos x="8" y="206"/>
              </a:cxn>
              <a:cxn ang="0">
                <a:pos x="0" y="235"/>
              </a:cxn>
              <a:cxn ang="0">
                <a:pos x="22" y="259"/>
              </a:cxn>
              <a:cxn ang="0">
                <a:pos x="41" y="281"/>
              </a:cxn>
              <a:cxn ang="0">
                <a:pos x="55" y="305"/>
              </a:cxn>
              <a:cxn ang="0">
                <a:pos x="66" y="329"/>
              </a:cxn>
              <a:cxn ang="0">
                <a:pos x="75" y="355"/>
              </a:cxn>
              <a:cxn ang="0">
                <a:pos x="82" y="384"/>
              </a:cxn>
              <a:cxn ang="0">
                <a:pos x="93" y="455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/>
            <a:ahLst/>
            <a:cxnLst>
              <a:cxn ang="0">
                <a:pos x="326" y="110"/>
              </a:cxn>
              <a:cxn ang="0">
                <a:pos x="326" y="259"/>
              </a:cxn>
              <a:cxn ang="0">
                <a:pos x="315" y="264"/>
              </a:cxn>
              <a:cxn ang="0">
                <a:pos x="291" y="271"/>
              </a:cxn>
              <a:cxn ang="0">
                <a:pos x="246" y="283"/>
              </a:cxn>
              <a:cxn ang="0">
                <a:pos x="253" y="302"/>
              </a:cxn>
              <a:cxn ang="0">
                <a:pos x="265" y="326"/>
              </a:cxn>
              <a:cxn ang="0">
                <a:pos x="269" y="353"/>
              </a:cxn>
              <a:cxn ang="0">
                <a:pos x="272" y="382"/>
              </a:cxn>
              <a:cxn ang="0">
                <a:pos x="52" y="394"/>
              </a:cxn>
              <a:cxn ang="0">
                <a:pos x="22" y="406"/>
              </a:cxn>
              <a:cxn ang="0">
                <a:pos x="5" y="403"/>
              </a:cxn>
              <a:cxn ang="0">
                <a:pos x="1" y="398"/>
              </a:cxn>
              <a:cxn ang="0">
                <a:pos x="1" y="385"/>
              </a:cxn>
              <a:cxn ang="0">
                <a:pos x="4" y="371"/>
              </a:cxn>
              <a:cxn ang="0">
                <a:pos x="11" y="354"/>
              </a:cxn>
              <a:cxn ang="0">
                <a:pos x="20" y="341"/>
              </a:cxn>
              <a:cxn ang="0">
                <a:pos x="30" y="334"/>
              </a:cxn>
              <a:cxn ang="0">
                <a:pos x="38" y="326"/>
              </a:cxn>
              <a:cxn ang="0">
                <a:pos x="44" y="317"/>
              </a:cxn>
              <a:cxn ang="0">
                <a:pos x="49" y="292"/>
              </a:cxn>
              <a:cxn ang="0">
                <a:pos x="56" y="265"/>
              </a:cxn>
              <a:cxn ang="0">
                <a:pos x="62" y="257"/>
              </a:cxn>
              <a:cxn ang="0">
                <a:pos x="74" y="246"/>
              </a:cxn>
              <a:cxn ang="0">
                <a:pos x="92" y="238"/>
              </a:cxn>
              <a:cxn ang="0">
                <a:pos x="107" y="231"/>
              </a:cxn>
              <a:cxn ang="0">
                <a:pos x="122" y="218"/>
              </a:cxn>
              <a:cxn ang="0">
                <a:pos x="136" y="195"/>
              </a:cxn>
              <a:cxn ang="0">
                <a:pos x="150" y="156"/>
              </a:cxn>
              <a:cxn ang="0">
                <a:pos x="162" y="117"/>
              </a:cxn>
              <a:cxn ang="0">
                <a:pos x="172" y="94"/>
              </a:cxn>
              <a:cxn ang="0">
                <a:pos x="186" y="73"/>
              </a:cxn>
              <a:cxn ang="0">
                <a:pos x="201" y="62"/>
              </a:cxn>
              <a:cxn ang="0">
                <a:pos x="213" y="57"/>
              </a:cxn>
              <a:cxn ang="0">
                <a:pos x="219" y="44"/>
              </a:cxn>
              <a:cxn ang="0">
                <a:pos x="223" y="28"/>
              </a:cxn>
              <a:cxn ang="0">
                <a:pos x="228" y="16"/>
              </a:cxn>
              <a:cxn ang="0">
                <a:pos x="239" y="8"/>
              </a:cxn>
              <a:cxn ang="0">
                <a:pos x="511" y="0"/>
              </a:cxn>
              <a:cxn ang="0">
                <a:pos x="515" y="46"/>
              </a:cxn>
              <a:cxn ang="0">
                <a:pos x="518" y="110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/>
            <a:ahLst/>
            <a:cxnLst>
              <a:cxn ang="0">
                <a:pos x="34" y="61"/>
              </a:cxn>
              <a:cxn ang="0">
                <a:pos x="41" y="42"/>
              </a:cxn>
              <a:cxn ang="0">
                <a:pos x="68" y="37"/>
              </a:cxn>
              <a:cxn ang="0">
                <a:pos x="80" y="18"/>
              </a:cxn>
              <a:cxn ang="0">
                <a:pos x="72" y="14"/>
              </a:cxn>
              <a:cxn ang="0">
                <a:pos x="60" y="0"/>
              </a:cxn>
              <a:cxn ang="0">
                <a:pos x="85" y="10"/>
              </a:cxn>
              <a:cxn ang="0">
                <a:pos x="108" y="39"/>
              </a:cxn>
              <a:cxn ang="0">
                <a:pos x="125" y="62"/>
              </a:cxn>
              <a:cxn ang="0">
                <a:pos x="139" y="67"/>
              </a:cxn>
              <a:cxn ang="0">
                <a:pos x="157" y="63"/>
              </a:cxn>
              <a:cxn ang="0">
                <a:pos x="181" y="45"/>
              </a:cxn>
              <a:cxn ang="0">
                <a:pos x="205" y="23"/>
              </a:cxn>
              <a:cxn ang="0">
                <a:pos x="220" y="31"/>
              </a:cxn>
              <a:cxn ang="0">
                <a:pos x="359" y="11"/>
              </a:cxn>
              <a:cxn ang="0">
                <a:pos x="376" y="23"/>
              </a:cxn>
              <a:cxn ang="0">
                <a:pos x="396" y="22"/>
              </a:cxn>
              <a:cxn ang="0">
                <a:pos x="413" y="37"/>
              </a:cxn>
              <a:cxn ang="0">
                <a:pos x="415" y="43"/>
              </a:cxn>
              <a:cxn ang="0">
                <a:pos x="429" y="54"/>
              </a:cxn>
              <a:cxn ang="0">
                <a:pos x="443" y="68"/>
              </a:cxn>
              <a:cxn ang="0">
                <a:pos x="446" y="80"/>
              </a:cxn>
              <a:cxn ang="0">
                <a:pos x="438" y="96"/>
              </a:cxn>
              <a:cxn ang="0">
                <a:pos x="413" y="111"/>
              </a:cxn>
              <a:cxn ang="0">
                <a:pos x="397" y="120"/>
              </a:cxn>
              <a:cxn ang="0">
                <a:pos x="366" y="123"/>
              </a:cxn>
              <a:cxn ang="0">
                <a:pos x="300" y="146"/>
              </a:cxn>
              <a:cxn ang="0">
                <a:pos x="234" y="171"/>
              </a:cxn>
              <a:cxn ang="0">
                <a:pos x="199" y="178"/>
              </a:cxn>
              <a:cxn ang="0">
                <a:pos x="177" y="174"/>
              </a:cxn>
              <a:cxn ang="0">
                <a:pos x="172" y="164"/>
              </a:cxn>
              <a:cxn ang="0">
                <a:pos x="170" y="161"/>
              </a:cxn>
              <a:cxn ang="0">
                <a:pos x="156" y="161"/>
              </a:cxn>
              <a:cxn ang="0">
                <a:pos x="139" y="160"/>
              </a:cxn>
              <a:cxn ang="0">
                <a:pos x="100" y="147"/>
              </a:cxn>
              <a:cxn ang="0">
                <a:pos x="85" y="137"/>
              </a:cxn>
              <a:cxn ang="0">
                <a:pos x="81" y="125"/>
              </a:cxn>
              <a:cxn ang="0">
                <a:pos x="87" y="111"/>
              </a:cxn>
              <a:cxn ang="0">
                <a:pos x="27" y="103"/>
              </a:cxn>
              <a:cxn ang="0">
                <a:pos x="9" y="105"/>
              </a:cxn>
              <a:cxn ang="0">
                <a:pos x="0" y="80"/>
              </a:cxn>
              <a:cxn ang="0">
                <a:pos x="60" y="86"/>
              </a:cxn>
              <a:cxn ang="0">
                <a:pos x="87" y="80"/>
              </a:cxn>
              <a:cxn ang="0">
                <a:pos x="23" y="68"/>
              </a:cxn>
              <a:cxn ang="0">
                <a:pos x="16" y="55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/>
            <a:ahLst/>
            <a:cxnLst>
              <a:cxn ang="0">
                <a:pos x="0" y="73"/>
              </a:cxn>
              <a:cxn ang="0">
                <a:pos x="2" y="47"/>
              </a:cxn>
              <a:cxn ang="0">
                <a:pos x="6" y="28"/>
              </a:cxn>
              <a:cxn ang="0">
                <a:pos x="7" y="20"/>
              </a:cxn>
              <a:cxn ang="0">
                <a:pos x="6" y="13"/>
              </a:cxn>
              <a:cxn ang="0">
                <a:pos x="4" y="7"/>
              </a:cxn>
              <a:cxn ang="0">
                <a:pos x="0" y="0"/>
              </a:cxn>
              <a:cxn ang="0">
                <a:pos x="28" y="0"/>
              </a:cxn>
              <a:cxn ang="0">
                <a:pos x="22" y="16"/>
              </a:cxn>
              <a:cxn ang="0">
                <a:pos x="17" y="30"/>
              </a:cxn>
              <a:cxn ang="0">
                <a:pos x="12" y="43"/>
              </a:cxn>
              <a:cxn ang="0">
                <a:pos x="7" y="55"/>
              </a:cxn>
              <a:cxn ang="0">
                <a:pos x="0" y="73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/>
            <a:ahLst/>
            <a:cxnLst>
              <a:cxn ang="0">
                <a:pos x="419" y="203"/>
              </a:cxn>
              <a:cxn ang="0">
                <a:pos x="406" y="221"/>
              </a:cxn>
              <a:cxn ang="0">
                <a:pos x="404" y="237"/>
              </a:cxn>
              <a:cxn ang="0">
                <a:pos x="382" y="275"/>
              </a:cxn>
              <a:cxn ang="0">
                <a:pos x="325" y="306"/>
              </a:cxn>
              <a:cxn ang="0">
                <a:pos x="252" y="354"/>
              </a:cxn>
              <a:cxn ang="0">
                <a:pos x="237" y="369"/>
              </a:cxn>
              <a:cxn ang="0">
                <a:pos x="245" y="381"/>
              </a:cxn>
              <a:cxn ang="0">
                <a:pos x="240" y="424"/>
              </a:cxn>
              <a:cxn ang="0">
                <a:pos x="239" y="449"/>
              </a:cxn>
              <a:cxn ang="0">
                <a:pos x="262" y="468"/>
              </a:cxn>
              <a:cxn ang="0">
                <a:pos x="320" y="485"/>
              </a:cxn>
              <a:cxn ang="0">
                <a:pos x="332" y="505"/>
              </a:cxn>
              <a:cxn ang="0">
                <a:pos x="310" y="531"/>
              </a:cxn>
              <a:cxn ang="0">
                <a:pos x="272" y="547"/>
              </a:cxn>
              <a:cxn ang="0">
                <a:pos x="265" y="560"/>
              </a:cxn>
              <a:cxn ang="0">
                <a:pos x="252" y="631"/>
              </a:cxn>
              <a:cxn ang="0">
                <a:pos x="239" y="721"/>
              </a:cxn>
              <a:cxn ang="0">
                <a:pos x="173" y="727"/>
              </a:cxn>
              <a:cxn ang="0">
                <a:pos x="152" y="738"/>
              </a:cxn>
              <a:cxn ang="0">
                <a:pos x="153" y="757"/>
              </a:cxn>
              <a:cxn ang="0">
                <a:pos x="106" y="757"/>
              </a:cxn>
              <a:cxn ang="0">
                <a:pos x="95" y="752"/>
              </a:cxn>
              <a:cxn ang="0">
                <a:pos x="71" y="718"/>
              </a:cxn>
              <a:cxn ang="0">
                <a:pos x="41" y="640"/>
              </a:cxn>
              <a:cxn ang="0">
                <a:pos x="34" y="597"/>
              </a:cxn>
              <a:cxn ang="0">
                <a:pos x="14" y="586"/>
              </a:cxn>
              <a:cxn ang="0">
                <a:pos x="19" y="561"/>
              </a:cxn>
              <a:cxn ang="0">
                <a:pos x="36" y="538"/>
              </a:cxn>
              <a:cxn ang="0">
                <a:pos x="53" y="504"/>
              </a:cxn>
              <a:cxn ang="0">
                <a:pos x="61" y="471"/>
              </a:cxn>
              <a:cxn ang="0">
                <a:pos x="64" y="441"/>
              </a:cxn>
              <a:cxn ang="0">
                <a:pos x="58" y="408"/>
              </a:cxn>
              <a:cxn ang="0">
                <a:pos x="43" y="377"/>
              </a:cxn>
              <a:cxn ang="0">
                <a:pos x="74" y="276"/>
              </a:cxn>
              <a:cxn ang="0">
                <a:pos x="103" y="275"/>
              </a:cxn>
              <a:cxn ang="0">
                <a:pos x="113" y="234"/>
              </a:cxn>
              <a:cxn ang="0">
                <a:pos x="137" y="192"/>
              </a:cxn>
              <a:cxn ang="0">
                <a:pos x="180" y="145"/>
              </a:cxn>
              <a:cxn ang="0">
                <a:pos x="198" y="111"/>
              </a:cxn>
              <a:cxn ang="0">
                <a:pos x="228" y="60"/>
              </a:cxn>
              <a:cxn ang="0">
                <a:pos x="249" y="43"/>
              </a:cxn>
              <a:cxn ang="0">
                <a:pos x="309" y="29"/>
              </a:cxn>
              <a:cxn ang="0">
                <a:pos x="368" y="13"/>
              </a:cxn>
              <a:cxn ang="0">
                <a:pos x="401" y="5"/>
              </a:cxn>
              <a:cxn ang="0">
                <a:pos x="431" y="32"/>
              </a:cxn>
              <a:cxn ang="0">
                <a:pos x="457" y="42"/>
              </a:cxn>
              <a:cxn ang="0">
                <a:pos x="513" y="111"/>
              </a:cxn>
              <a:cxn ang="0">
                <a:pos x="528" y="150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0"/>
              </a:cxn>
              <a:cxn ang="0">
                <a:pos x="15" y="19"/>
              </a:cxn>
              <a:cxn ang="0">
                <a:pos x="20" y="13"/>
              </a:cxn>
              <a:cxn ang="0">
                <a:pos x="27" y="8"/>
              </a:cxn>
              <a:cxn ang="0">
                <a:pos x="33" y="4"/>
              </a:cxn>
              <a:cxn ang="0">
                <a:pos x="40" y="0"/>
              </a:cxn>
              <a:cxn ang="0">
                <a:pos x="50" y="7"/>
              </a:cxn>
              <a:cxn ang="0">
                <a:pos x="60" y="13"/>
              </a:cxn>
              <a:cxn ang="0">
                <a:pos x="59" y="20"/>
              </a:cxn>
              <a:cxn ang="0">
                <a:pos x="56" y="29"/>
              </a:cxn>
              <a:cxn ang="0">
                <a:pos x="54" y="34"/>
              </a:cxn>
              <a:cxn ang="0">
                <a:pos x="52" y="38"/>
              </a:cxn>
              <a:cxn ang="0">
                <a:pos x="49" y="42"/>
              </a:cxn>
              <a:cxn ang="0">
                <a:pos x="45" y="45"/>
              </a:cxn>
              <a:cxn ang="0">
                <a:pos x="41" y="48"/>
              </a:cxn>
              <a:cxn ang="0">
                <a:pos x="37" y="50"/>
              </a:cxn>
              <a:cxn ang="0">
                <a:pos x="31" y="51"/>
              </a:cxn>
              <a:cxn ang="0">
                <a:pos x="27" y="51"/>
              </a:cxn>
              <a:cxn ang="0">
                <a:pos x="20" y="50"/>
              </a:cxn>
              <a:cxn ang="0">
                <a:pos x="15" y="47"/>
              </a:cxn>
              <a:cxn ang="0">
                <a:pos x="7" y="43"/>
              </a:cxn>
              <a:cxn ang="0">
                <a:pos x="0" y="37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/>
            <a:ahLst/>
            <a:cxnLst>
              <a:cxn ang="0">
                <a:pos x="59" y="48"/>
              </a:cxn>
              <a:cxn ang="0">
                <a:pos x="42" y="50"/>
              </a:cxn>
              <a:cxn ang="0">
                <a:pos x="22" y="51"/>
              </a:cxn>
              <a:cxn ang="0">
                <a:pos x="17" y="50"/>
              </a:cxn>
              <a:cxn ang="0">
                <a:pos x="13" y="49"/>
              </a:cxn>
              <a:cxn ang="0">
                <a:pos x="10" y="48"/>
              </a:cxn>
              <a:cxn ang="0">
                <a:pos x="7" y="46"/>
              </a:cxn>
              <a:cxn ang="0">
                <a:pos x="3" y="43"/>
              </a:cxn>
              <a:cxn ang="0">
                <a:pos x="1" y="40"/>
              </a:cxn>
              <a:cxn ang="0">
                <a:pos x="0" y="35"/>
              </a:cxn>
              <a:cxn ang="0">
                <a:pos x="0" y="30"/>
              </a:cxn>
              <a:cxn ang="0">
                <a:pos x="4" y="29"/>
              </a:cxn>
              <a:cxn ang="0">
                <a:pos x="10" y="27"/>
              </a:cxn>
              <a:cxn ang="0">
                <a:pos x="14" y="24"/>
              </a:cxn>
              <a:cxn ang="0">
                <a:pos x="19" y="20"/>
              </a:cxn>
              <a:cxn ang="0">
                <a:pos x="26" y="10"/>
              </a:cxn>
              <a:cxn ang="0">
                <a:pos x="33" y="0"/>
              </a:cxn>
              <a:cxn ang="0">
                <a:pos x="46" y="1"/>
              </a:cxn>
              <a:cxn ang="0">
                <a:pos x="52" y="2"/>
              </a:cxn>
              <a:cxn ang="0">
                <a:pos x="56" y="3"/>
              </a:cxn>
              <a:cxn ang="0">
                <a:pos x="66" y="0"/>
              </a:cxn>
              <a:cxn ang="0">
                <a:pos x="65" y="13"/>
              </a:cxn>
              <a:cxn ang="0">
                <a:pos x="63" y="24"/>
              </a:cxn>
              <a:cxn ang="0">
                <a:pos x="60" y="36"/>
              </a:cxn>
              <a:cxn ang="0">
                <a:pos x="59" y="48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/>
            <a:ahLst/>
            <a:cxnLst>
              <a:cxn ang="0">
                <a:pos x="0" y="44"/>
              </a:cxn>
              <a:cxn ang="0">
                <a:pos x="20" y="74"/>
              </a:cxn>
              <a:cxn ang="0">
                <a:pos x="37" y="69"/>
              </a:cxn>
              <a:cxn ang="0">
                <a:pos x="51" y="65"/>
              </a:cxn>
              <a:cxn ang="0">
                <a:pos x="64" y="59"/>
              </a:cxn>
              <a:cxn ang="0">
                <a:pos x="74" y="53"/>
              </a:cxn>
              <a:cxn ang="0">
                <a:pos x="78" y="49"/>
              </a:cxn>
              <a:cxn ang="0">
                <a:pos x="83" y="45"/>
              </a:cxn>
              <a:cxn ang="0">
                <a:pos x="86" y="41"/>
              </a:cxn>
              <a:cxn ang="0">
                <a:pos x="88" y="37"/>
              </a:cxn>
              <a:cxn ang="0">
                <a:pos x="90" y="32"/>
              </a:cxn>
              <a:cxn ang="0">
                <a:pos x="91" y="26"/>
              </a:cxn>
              <a:cxn ang="0">
                <a:pos x="93" y="19"/>
              </a:cxn>
              <a:cxn ang="0">
                <a:pos x="94" y="13"/>
              </a:cxn>
              <a:cxn ang="0">
                <a:pos x="99" y="12"/>
              </a:cxn>
              <a:cxn ang="0">
                <a:pos x="106" y="9"/>
              </a:cxn>
              <a:cxn ang="0">
                <a:pos x="108" y="7"/>
              </a:cxn>
              <a:cxn ang="0">
                <a:pos x="111" y="5"/>
              </a:cxn>
              <a:cxn ang="0">
                <a:pos x="112" y="3"/>
              </a:cxn>
              <a:cxn ang="0">
                <a:pos x="113" y="0"/>
              </a:cxn>
              <a:cxn ang="0">
                <a:pos x="98" y="4"/>
              </a:cxn>
              <a:cxn ang="0">
                <a:pos x="82" y="8"/>
              </a:cxn>
              <a:cxn ang="0">
                <a:pos x="65" y="13"/>
              </a:cxn>
              <a:cxn ang="0">
                <a:pos x="49" y="19"/>
              </a:cxn>
              <a:cxn ang="0">
                <a:pos x="20" y="33"/>
              </a:cxn>
              <a:cxn ang="0">
                <a:pos x="0" y="44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/>
            <a:ahLst/>
            <a:cxnLst>
              <a:cxn ang="0">
                <a:pos x="98" y="452"/>
              </a:cxn>
              <a:cxn ang="0">
                <a:pos x="54" y="440"/>
              </a:cxn>
              <a:cxn ang="0">
                <a:pos x="21" y="429"/>
              </a:cxn>
              <a:cxn ang="0">
                <a:pos x="5" y="413"/>
              </a:cxn>
              <a:cxn ang="0">
                <a:pos x="0" y="363"/>
              </a:cxn>
              <a:cxn ang="0">
                <a:pos x="5" y="309"/>
              </a:cxn>
              <a:cxn ang="0">
                <a:pos x="23" y="273"/>
              </a:cxn>
              <a:cxn ang="0">
                <a:pos x="56" y="228"/>
              </a:cxn>
              <a:cxn ang="0">
                <a:pos x="121" y="204"/>
              </a:cxn>
              <a:cxn ang="0">
                <a:pos x="166" y="188"/>
              </a:cxn>
              <a:cxn ang="0">
                <a:pos x="235" y="173"/>
              </a:cxn>
              <a:cxn ang="0">
                <a:pos x="262" y="153"/>
              </a:cxn>
              <a:cxn ang="0">
                <a:pos x="267" y="136"/>
              </a:cxn>
              <a:cxn ang="0">
                <a:pos x="292" y="120"/>
              </a:cxn>
              <a:cxn ang="0">
                <a:pos x="332" y="115"/>
              </a:cxn>
              <a:cxn ang="0">
                <a:pos x="359" y="101"/>
              </a:cxn>
              <a:cxn ang="0">
                <a:pos x="389" y="67"/>
              </a:cxn>
              <a:cxn ang="0">
                <a:pos x="425" y="22"/>
              </a:cxn>
              <a:cxn ang="0">
                <a:pos x="450" y="6"/>
              </a:cxn>
              <a:cxn ang="0">
                <a:pos x="486" y="0"/>
              </a:cxn>
              <a:cxn ang="0">
                <a:pos x="507" y="29"/>
              </a:cxn>
              <a:cxn ang="0">
                <a:pos x="532" y="53"/>
              </a:cxn>
              <a:cxn ang="0">
                <a:pos x="553" y="107"/>
              </a:cxn>
              <a:cxn ang="0">
                <a:pos x="579" y="159"/>
              </a:cxn>
              <a:cxn ang="0">
                <a:pos x="613" y="172"/>
              </a:cxn>
              <a:cxn ang="0">
                <a:pos x="628" y="193"/>
              </a:cxn>
              <a:cxn ang="0">
                <a:pos x="650" y="233"/>
              </a:cxn>
              <a:cxn ang="0">
                <a:pos x="702" y="279"/>
              </a:cxn>
              <a:cxn ang="0">
                <a:pos x="741" y="315"/>
              </a:cxn>
              <a:cxn ang="0">
                <a:pos x="711" y="345"/>
              </a:cxn>
              <a:cxn ang="0">
                <a:pos x="691" y="342"/>
              </a:cxn>
              <a:cxn ang="0">
                <a:pos x="679" y="321"/>
              </a:cxn>
              <a:cxn ang="0">
                <a:pos x="651" y="330"/>
              </a:cxn>
              <a:cxn ang="0">
                <a:pos x="639" y="352"/>
              </a:cxn>
              <a:cxn ang="0">
                <a:pos x="604" y="356"/>
              </a:cxn>
              <a:cxn ang="0">
                <a:pos x="553" y="356"/>
              </a:cxn>
              <a:cxn ang="0">
                <a:pos x="522" y="365"/>
              </a:cxn>
              <a:cxn ang="0">
                <a:pos x="496" y="387"/>
              </a:cxn>
              <a:cxn ang="0">
                <a:pos x="486" y="394"/>
              </a:cxn>
              <a:cxn ang="0">
                <a:pos x="426" y="400"/>
              </a:cxn>
              <a:cxn ang="0">
                <a:pos x="396" y="392"/>
              </a:cxn>
              <a:cxn ang="0">
                <a:pos x="349" y="354"/>
              </a:cxn>
              <a:cxn ang="0">
                <a:pos x="319" y="345"/>
              </a:cxn>
              <a:cxn ang="0">
                <a:pos x="291" y="355"/>
              </a:cxn>
              <a:cxn ang="0">
                <a:pos x="266" y="377"/>
              </a:cxn>
              <a:cxn ang="0">
                <a:pos x="227" y="437"/>
              </a:cxn>
              <a:cxn ang="0">
                <a:pos x="150" y="439"/>
              </a:cxn>
              <a:cxn ang="0">
                <a:pos x="135" y="448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/>
            <a:ahLst/>
            <a:cxnLst>
              <a:cxn ang="0">
                <a:pos x="902" y="57"/>
              </a:cxn>
              <a:cxn ang="0">
                <a:pos x="993" y="66"/>
              </a:cxn>
              <a:cxn ang="0">
                <a:pos x="1080" y="81"/>
              </a:cxn>
              <a:cxn ang="0">
                <a:pos x="1126" y="175"/>
              </a:cxn>
              <a:cxn ang="0">
                <a:pos x="1133" y="211"/>
              </a:cxn>
              <a:cxn ang="0">
                <a:pos x="1058" y="272"/>
              </a:cxn>
              <a:cxn ang="0">
                <a:pos x="1045" y="360"/>
              </a:cxn>
              <a:cxn ang="0">
                <a:pos x="1003" y="440"/>
              </a:cxn>
              <a:cxn ang="0">
                <a:pos x="990" y="476"/>
              </a:cxn>
              <a:cxn ang="0">
                <a:pos x="1019" y="576"/>
              </a:cxn>
              <a:cxn ang="0">
                <a:pos x="1026" y="664"/>
              </a:cxn>
              <a:cxn ang="0">
                <a:pos x="1047" y="731"/>
              </a:cxn>
              <a:cxn ang="0">
                <a:pos x="1079" y="765"/>
              </a:cxn>
              <a:cxn ang="0">
                <a:pos x="1092" y="825"/>
              </a:cxn>
              <a:cxn ang="0">
                <a:pos x="1040" y="844"/>
              </a:cxn>
              <a:cxn ang="0">
                <a:pos x="997" y="856"/>
              </a:cxn>
              <a:cxn ang="0">
                <a:pos x="960" y="992"/>
              </a:cxn>
              <a:cxn ang="0">
                <a:pos x="930" y="1026"/>
              </a:cxn>
              <a:cxn ang="0">
                <a:pos x="902" y="1031"/>
              </a:cxn>
              <a:cxn ang="0">
                <a:pos x="840" y="1053"/>
              </a:cxn>
              <a:cxn ang="0">
                <a:pos x="782" y="1037"/>
              </a:cxn>
              <a:cxn ang="0">
                <a:pos x="743" y="1014"/>
              </a:cxn>
              <a:cxn ang="0">
                <a:pos x="707" y="997"/>
              </a:cxn>
              <a:cxn ang="0">
                <a:pos x="674" y="986"/>
              </a:cxn>
              <a:cxn ang="0">
                <a:pos x="608" y="987"/>
              </a:cxn>
              <a:cxn ang="0">
                <a:pos x="594" y="942"/>
              </a:cxn>
              <a:cxn ang="0">
                <a:pos x="575" y="884"/>
              </a:cxn>
              <a:cxn ang="0">
                <a:pos x="590" y="846"/>
              </a:cxn>
              <a:cxn ang="0">
                <a:pos x="590" y="779"/>
              </a:cxn>
              <a:cxn ang="0">
                <a:pos x="454" y="755"/>
              </a:cxn>
              <a:cxn ang="0">
                <a:pos x="443" y="785"/>
              </a:cxn>
              <a:cxn ang="0">
                <a:pos x="396" y="817"/>
              </a:cxn>
              <a:cxn ang="0">
                <a:pos x="337" y="797"/>
              </a:cxn>
              <a:cxn ang="0">
                <a:pos x="297" y="708"/>
              </a:cxn>
              <a:cxn ang="0">
                <a:pos x="3" y="671"/>
              </a:cxn>
              <a:cxn ang="0">
                <a:pos x="45" y="667"/>
              </a:cxn>
              <a:cxn ang="0">
                <a:pos x="26" y="631"/>
              </a:cxn>
              <a:cxn ang="0">
                <a:pos x="75" y="615"/>
              </a:cxn>
              <a:cxn ang="0">
                <a:pos x="145" y="614"/>
              </a:cxn>
              <a:cxn ang="0">
                <a:pos x="183" y="620"/>
              </a:cxn>
              <a:cxn ang="0">
                <a:pos x="220" y="574"/>
              </a:cxn>
              <a:cxn ang="0">
                <a:pos x="260" y="555"/>
              </a:cxn>
              <a:cxn ang="0">
                <a:pos x="281" y="440"/>
              </a:cxn>
              <a:cxn ang="0">
                <a:pos x="346" y="370"/>
              </a:cxn>
              <a:cxn ang="0">
                <a:pos x="370" y="276"/>
              </a:cxn>
              <a:cxn ang="0">
                <a:pos x="372" y="180"/>
              </a:cxn>
              <a:cxn ang="0">
                <a:pos x="383" y="122"/>
              </a:cxn>
              <a:cxn ang="0">
                <a:pos x="440" y="35"/>
              </a:cxn>
              <a:cxn ang="0">
                <a:pos x="491" y="30"/>
              </a:cxn>
              <a:cxn ang="0">
                <a:pos x="558" y="77"/>
              </a:cxn>
              <a:cxn ang="0">
                <a:pos x="637" y="73"/>
              </a:cxn>
              <a:cxn ang="0">
                <a:pos x="670" y="44"/>
              </a:cxn>
              <a:cxn ang="0">
                <a:pos x="734" y="34"/>
              </a:cxn>
              <a:cxn ang="0">
                <a:pos x="795" y="17"/>
              </a:cxn>
              <a:cxn ang="0">
                <a:pos x="828" y="8"/>
              </a:cxn>
              <a:cxn ang="0">
                <a:pos x="859" y="24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121" y="27"/>
              </a:cxn>
              <a:cxn ang="0">
                <a:pos x="124" y="46"/>
              </a:cxn>
              <a:cxn ang="0">
                <a:pos x="125" y="53"/>
              </a:cxn>
              <a:cxn ang="0">
                <a:pos x="125" y="59"/>
              </a:cxn>
              <a:cxn ang="0">
                <a:pos x="125" y="65"/>
              </a:cxn>
              <a:cxn ang="0">
                <a:pos x="123" y="69"/>
              </a:cxn>
              <a:cxn ang="0">
                <a:pos x="119" y="72"/>
              </a:cxn>
              <a:cxn ang="0">
                <a:pos x="112" y="74"/>
              </a:cxn>
              <a:cxn ang="0">
                <a:pos x="103" y="76"/>
              </a:cxn>
              <a:cxn ang="0">
                <a:pos x="91" y="77"/>
              </a:cxn>
              <a:cxn ang="0">
                <a:pos x="57" y="79"/>
              </a:cxn>
              <a:cxn ang="0">
                <a:pos x="7" y="81"/>
              </a:cxn>
              <a:cxn ang="0">
                <a:pos x="5" y="79"/>
              </a:cxn>
              <a:cxn ang="0">
                <a:pos x="3" y="72"/>
              </a:cxn>
              <a:cxn ang="0">
                <a:pos x="1" y="59"/>
              </a:cxn>
              <a:cxn ang="0">
                <a:pos x="0" y="43"/>
              </a:cxn>
              <a:cxn ang="0">
                <a:pos x="0" y="37"/>
              </a:cxn>
              <a:cxn ang="0">
                <a:pos x="1" y="31"/>
              </a:cxn>
              <a:cxn ang="0">
                <a:pos x="2" y="25"/>
              </a:cxn>
              <a:cxn ang="0">
                <a:pos x="4" y="20"/>
              </a:cxn>
              <a:cxn ang="0">
                <a:pos x="8" y="15"/>
              </a:cxn>
              <a:cxn ang="0">
                <a:pos x="11" y="10"/>
              </a:cxn>
              <a:cxn ang="0">
                <a:pos x="14" y="5"/>
              </a:cxn>
              <a:cxn ang="0">
                <a:pos x="20" y="0"/>
              </a:cxn>
              <a:cxn ang="0">
                <a:pos x="120" y="0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/>
            <a:ahLst/>
            <a:cxnLst>
              <a:cxn ang="0">
                <a:pos x="262" y="15"/>
              </a:cxn>
              <a:cxn ang="0">
                <a:pos x="257" y="37"/>
              </a:cxn>
              <a:cxn ang="0">
                <a:pos x="264" y="51"/>
              </a:cxn>
              <a:cxn ang="0">
                <a:pos x="283" y="60"/>
              </a:cxn>
              <a:cxn ang="0">
                <a:pos x="319" y="55"/>
              </a:cxn>
              <a:cxn ang="0">
                <a:pos x="332" y="57"/>
              </a:cxn>
              <a:cxn ang="0">
                <a:pos x="340" y="68"/>
              </a:cxn>
              <a:cxn ang="0">
                <a:pos x="345" y="83"/>
              </a:cxn>
              <a:cxn ang="0">
                <a:pos x="351" y="94"/>
              </a:cxn>
              <a:cxn ang="0">
                <a:pos x="345" y="108"/>
              </a:cxn>
              <a:cxn ang="0">
                <a:pos x="320" y="136"/>
              </a:cxn>
              <a:cxn ang="0">
                <a:pos x="348" y="175"/>
              </a:cxn>
              <a:cxn ang="0">
                <a:pos x="355" y="202"/>
              </a:cxn>
              <a:cxn ang="0">
                <a:pos x="353" y="219"/>
              </a:cxn>
              <a:cxn ang="0">
                <a:pos x="345" y="254"/>
              </a:cxn>
              <a:cxn ang="0">
                <a:pos x="333" y="271"/>
              </a:cxn>
              <a:cxn ang="0">
                <a:pos x="312" y="280"/>
              </a:cxn>
              <a:cxn ang="0">
                <a:pos x="286" y="282"/>
              </a:cxn>
              <a:cxn ang="0">
                <a:pos x="270" y="282"/>
              </a:cxn>
              <a:cxn ang="0">
                <a:pos x="252" y="265"/>
              </a:cxn>
              <a:cxn ang="0">
                <a:pos x="240" y="259"/>
              </a:cxn>
              <a:cxn ang="0">
                <a:pos x="221" y="269"/>
              </a:cxn>
              <a:cxn ang="0">
                <a:pos x="205" y="279"/>
              </a:cxn>
              <a:cxn ang="0">
                <a:pos x="194" y="285"/>
              </a:cxn>
              <a:cxn ang="0">
                <a:pos x="185" y="298"/>
              </a:cxn>
              <a:cxn ang="0">
                <a:pos x="187" y="321"/>
              </a:cxn>
              <a:cxn ang="0">
                <a:pos x="207" y="358"/>
              </a:cxn>
              <a:cxn ang="0">
                <a:pos x="195" y="353"/>
              </a:cxn>
              <a:cxn ang="0">
                <a:pos x="177" y="355"/>
              </a:cxn>
              <a:cxn ang="0">
                <a:pos x="162" y="365"/>
              </a:cxn>
              <a:cxn ang="0">
                <a:pos x="146" y="388"/>
              </a:cxn>
              <a:cxn ang="0">
                <a:pos x="123" y="370"/>
              </a:cxn>
              <a:cxn ang="0">
                <a:pos x="113" y="358"/>
              </a:cxn>
              <a:cxn ang="0">
                <a:pos x="96" y="324"/>
              </a:cxn>
              <a:cxn ang="0">
                <a:pos x="50" y="280"/>
              </a:cxn>
              <a:cxn ang="0">
                <a:pos x="22" y="254"/>
              </a:cxn>
              <a:cxn ang="0">
                <a:pos x="5" y="223"/>
              </a:cxn>
              <a:cxn ang="0">
                <a:pos x="1" y="187"/>
              </a:cxn>
              <a:cxn ang="0">
                <a:pos x="11" y="162"/>
              </a:cxn>
              <a:cxn ang="0">
                <a:pos x="41" y="134"/>
              </a:cxn>
              <a:cxn ang="0">
                <a:pos x="54" y="116"/>
              </a:cxn>
              <a:cxn ang="0">
                <a:pos x="56" y="91"/>
              </a:cxn>
              <a:cxn ang="0">
                <a:pos x="108" y="83"/>
              </a:cxn>
              <a:cxn ang="0">
                <a:pos x="156" y="80"/>
              </a:cxn>
              <a:cxn ang="0">
                <a:pos x="172" y="73"/>
              </a:cxn>
              <a:cxn ang="0">
                <a:pos x="177" y="63"/>
              </a:cxn>
              <a:cxn ang="0">
                <a:pos x="174" y="41"/>
              </a:cxn>
              <a:cxn ang="0">
                <a:pos x="167" y="12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/>
            <a:ahLst/>
            <a:cxnLst>
              <a:cxn ang="0">
                <a:pos x="0" y="259"/>
              </a:cxn>
              <a:cxn ang="0">
                <a:pos x="182" y="224"/>
              </a:cxn>
              <a:cxn ang="0">
                <a:pos x="230" y="240"/>
              </a:cxn>
              <a:cxn ang="0">
                <a:pos x="258" y="258"/>
              </a:cxn>
              <a:cxn ang="0">
                <a:pos x="252" y="296"/>
              </a:cxn>
              <a:cxn ang="0">
                <a:pos x="234" y="327"/>
              </a:cxn>
              <a:cxn ang="0">
                <a:pos x="250" y="357"/>
              </a:cxn>
              <a:cxn ang="0">
                <a:pos x="294" y="365"/>
              </a:cxn>
              <a:cxn ang="0">
                <a:pos x="319" y="340"/>
              </a:cxn>
              <a:cxn ang="0">
                <a:pos x="338" y="317"/>
              </a:cxn>
              <a:cxn ang="0">
                <a:pos x="332" y="261"/>
              </a:cxn>
              <a:cxn ang="0">
                <a:pos x="314" y="204"/>
              </a:cxn>
              <a:cxn ang="0">
                <a:pos x="271" y="157"/>
              </a:cxn>
              <a:cxn ang="0">
                <a:pos x="254" y="125"/>
              </a:cxn>
              <a:cxn ang="0">
                <a:pos x="270" y="62"/>
              </a:cxn>
              <a:cxn ang="0">
                <a:pos x="320" y="55"/>
              </a:cxn>
              <a:cxn ang="0">
                <a:pos x="418" y="60"/>
              </a:cxn>
              <a:cxn ang="0">
                <a:pos x="521" y="36"/>
              </a:cxn>
              <a:cxn ang="0">
                <a:pos x="597" y="3"/>
              </a:cxn>
              <a:cxn ang="0">
                <a:pos x="597" y="30"/>
              </a:cxn>
              <a:cxn ang="0">
                <a:pos x="597" y="126"/>
              </a:cxn>
              <a:cxn ang="0">
                <a:pos x="592" y="228"/>
              </a:cxn>
              <a:cxn ang="0">
                <a:pos x="585" y="276"/>
              </a:cxn>
              <a:cxn ang="0">
                <a:pos x="550" y="337"/>
              </a:cxn>
              <a:cxn ang="0">
                <a:pos x="468" y="402"/>
              </a:cxn>
              <a:cxn ang="0">
                <a:pos x="374" y="426"/>
              </a:cxn>
              <a:cxn ang="0">
                <a:pos x="353" y="464"/>
              </a:cxn>
              <a:cxn ang="0">
                <a:pos x="293" y="507"/>
              </a:cxn>
              <a:cxn ang="0">
                <a:pos x="243" y="549"/>
              </a:cxn>
              <a:cxn ang="0">
                <a:pos x="229" y="582"/>
              </a:cxn>
              <a:cxn ang="0">
                <a:pos x="237" y="619"/>
              </a:cxn>
              <a:cxn ang="0">
                <a:pos x="267" y="654"/>
              </a:cxn>
              <a:cxn ang="0">
                <a:pos x="254" y="694"/>
              </a:cxn>
              <a:cxn ang="0">
                <a:pos x="265" y="729"/>
              </a:cxn>
              <a:cxn ang="0">
                <a:pos x="267" y="790"/>
              </a:cxn>
              <a:cxn ang="0">
                <a:pos x="256" y="814"/>
              </a:cxn>
              <a:cxn ang="0">
                <a:pos x="193" y="873"/>
              </a:cxn>
              <a:cxn ang="0">
                <a:pos x="147" y="887"/>
              </a:cxn>
              <a:cxn ang="0">
                <a:pos x="102" y="894"/>
              </a:cxn>
              <a:cxn ang="0">
                <a:pos x="87" y="913"/>
              </a:cxn>
              <a:cxn ang="0">
                <a:pos x="95" y="939"/>
              </a:cxn>
              <a:cxn ang="0">
                <a:pos x="91" y="992"/>
              </a:cxn>
              <a:cxn ang="0">
                <a:pos x="74" y="810"/>
              </a:cxn>
              <a:cxn ang="0">
                <a:pos x="58" y="765"/>
              </a:cxn>
              <a:cxn ang="0">
                <a:pos x="41" y="720"/>
              </a:cxn>
              <a:cxn ang="0">
                <a:pos x="108" y="666"/>
              </a:cxn>
              <a:cxn ang="0">
                <a:pos x="109" y="614"/>
              </a:cxn>
              <a:cxn ang="0">
                <a:pos x="149" y="571"/>
              </a:cxn>
              <a:cxn ang="0">
                <a:pos x="174" y="526"/>
              </a:cxn>
              <a:cxn ang="0">
                <a:pos x="168" y="441"/>
              </a:cxn>
              <a:cxn ang="0">
                <a:pos x="152" y="364"/>
              </a:cxn>
              <a:cxn ang="0">
                <a:pos x="81" y="341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/>
            <a:ahLst/>
            <a:cxnLst>
              <a:cxn ang="0">
                <a:pos x="30" y="428"/>
              </a:cxn>
              <a:cxn ang="0">
                <a:pos x="46" y="454"/>
              </a:cxn>
              <a:cxn ang="0">
                <a:pos x="46" y="512"/>
              </a:cxn>
              <a:cxn ang="0">
                <a:pos x="48" y="527"/>
              </a:cxn>
              <a:cxn ang="0">
                <a:pos x="55" y="537"/>
              </a:cxn>
              <a:cxn ang="0">
                <a:pos x="68" y="545"/>
              </a:cxn>
              <a:cxn ang="0">
                <a:pos x="100" y="549"/>
              </a:cxn>
              <a:cxn ang="0">
                <a:pos x="113" y="546"/>
              </a:cxn>
              <a:cxn ang="0">
                <a:pos x="130" y="533"/>
              </a:cxn>
              <a:cxn ang="0">
                <a:pos x="143" y="507"/>
              </a:cxn>
              <a:cxn ang="0">
                <a:pos x="154" y="477"/>
              </a:cxn>
              <a:cxn ang="0">
                <a:pos x="169" y="454"/>
              </a:cxn>
              <a:cxn ang="0">
                <a:pos x="183" y="445"/>
              </a:cxn>
              <a:cxn ang="0">
                <a:pos x="201" y="444"/>
              </a:cxn>
              <a:cxn ang="0">
                <a:pos x="222" y="448"/>
              </a:cxn>
              <a:cxn ang="0">
                <a:pos x="252" y="461"/>
              </a:cxn>
              <a:cxn ang="0">
                <a:pos x="272" y="468"/>
              </a:cxn>
              <a:cxn ang="0">
                <a:pos x="297" y="469"/>
              </a:cxn>
              <a:cxn ang="0">
                <a:pos x="319" y="464"/>
              </a:cxn>
              <a:cxn ang="0">
                <a:pos x="332" y="453"/>
              </a:cxn>
              <a:cxn ang="0">
                <a:pos x="359" y="388"/>
              </a:cxn>
              <a:cxn ang="0">
                <a:pos x="382" y="363"/>
              </a:cxn>
              <a:cxn ang="0">
                <a:pos x="447" y="314"/>
              </a:cxn>
              <a:cxn ang="0">
                <a:pos x="527" y="264"/>
              </a:cxn>
              <a:cxn ang="0">
                <a:pos x="528" y="232"/>
              </a:cxn>
              <a:cxn ang="0">
                <a:pos x="503" y="218"/>
              </a:cxn>
              <a:cxn ang="0">
                <a:pos x="485" y="199"/>
              </a:cxn>
              <a:cxn ang="0">
                <a:pos x="460" y="157"/>
              </a:cxn>
              <a:cxn ang="0">
                <a:pos x="440" y="132"/>
              </a:cxn>
              <a:cxn ang="0">
                <a:pos x="377" y="76"/>
              </a:cxn>
              <a:cxn ang="0">
                <a:pos x="359" y="53"/>
              </a:cxn>
              <a:cxn ang="0">
                <a:pos x="348" y="24"/>
              </a:cxn>
              <a:cxn ang="0">
                <a:pos x="319" y="0"/>
              </a:cxn>
              <a:cxn ang="0">
                <a:pos x="244" y="2"/>
              </a:cxn>
              <a:cxn ang="0">
                <a:pos x="176" y="13"/>
              </a:cxn>
              <a:cxn ang="0">
                <a:pos x="95" y="22"/>
              </a:cxn>
              <a:cxn ang="0">
                <a:pos x="71" y="27"/>
              </a:cxn>
              <a:cxn ang="0">
                <a:pos x="67" y="38"/>
              </a:cxn>
              <a:cxn ang="0">
                <a:pos x="73" y="56"/>
              </a:cxn>
              <a:cxn ang="0">
                <a:pos x="84" y="74"/>
              </a:cxn>
              <a:cxn ang="0">
                <a:pos x="86" y="107"/>
              </a:cxn>
              <a:cxn ang="0">
                <a:pos x="74" y="171"/>
              </a:cxn>
              <a:cxn ang="0">
                <a:pos x="62" y="237"/>
              </a:cxn>
              <a:cxn ang="0">
                <a:pos x="47" y="263"/>
              </a:cxn>
              <a:cxn ang="0">
                <a:pos x="26" y="277"/>
              </a:cxn>
              <a:cxn ang="0">
                <a:pos x="5" y="307"/>
              </a:cxn>
              <a:cxn ang="0">
                <a:pos x="1" y="339"/>
              </a:cxn>
              <a:cxn ang="0">
                <a:pos x="8" y="367"/>
              </a:cxn>
              <a:cxn ang="0">
                <a:pos x="8" y="391"/>
              </a:cxn>
              <a:cxn ang="0">
                <a:pos x="0" y="408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/>
            <a:ahLst/>
            <a:cxnLst>
              <a:cxn ang="0">
                <a:pos x="112" y="261"/>
              </a:cxn>
              <a:cxn ang="0">
                <a:pos x="138" y="248"/>
              </a:cxn>
              <a:cxn ang="0">
                <a:pos x="165" y="240"/>
              </a:cxn>
              <a:cxn ang="0">
                <a:pos x="192" y="232"/>
              </a:cxn>
              <a:cxn ang="0">
                <a:pos x="215" y="217"/>
              </a:cxn>
              <a:cxn ang="0">
                <a:pos x="232" y="200"/>
              </a:cxn>
              <a:cxn ang="0">
                <a:pos x="232" y="179"/>
              </a:cxn>
              <a:cxn ang="0">
                <a:pos x="265" y="178"/>
              </a:cxn>
              <a:cxn ang="0">
                <a:pos x="282" y="173"/>
              </a:cxn>
              <a:cxn ang="0">
                <a:pos x="298" y="162"/>
              </a:cxn>
              <a:cxn ang="0">
                <a:pos x="320" y="133"/>
              </a:cxn>
              <a:cxn ang="0">
                <a:pos x="350" y="75"/>
              </a:cxn>
              <a:cxn ang="0">
                <a:pos x="378" y="0"/>
              </a:cxn>
              <a:cxn ang="0">
                <a:pos x="385" y="19"/>
              </a:cxn>
              <a:cxn ang="0">
                <a:pos x="407" y="47"/>
              </a:cxn>
              <a:cxn ang="0">
                <a:pos x="448" y="85"/>
              </a:cxn>
              <a:cxn ang="0">
                <a:pos x="440" y="103"/>
              </a:cxn>
              <a:cxn ang="0">
                <a:pos x="444" y="138"/>
              </a:cxn>
              <a:cxn ang="0">
                <a:pos x="452" y="185"/>
              </a:cxn>
              <a:cxn ang="0">
                <a:pos x="448" y="206"/>
              </a:cxn>
              <a:cxn ang="0">
                <a:pos x="428" y="234"/>
              </a:cxn>
              <a:cxn ang="0">
                <a:pos x="409" y="261"/>
              </a:cxn>
              <a:cxn ang="0">
                <a:pos x="405" y="283"/>
              </a:cxn>
              <a:cxn ang="0">
                <a:pos x="393" y="308"/>
              </a:cxn>
              <a:cxn ang="0">
                <a:pos x="383" y="318"/>
              </a:cxn>
              <a:cxn ang="0">
                <a:pos x="377" y="332"/>
              </a:cxn>
              <a:cxn ang="0">
                <a:pos x="368" y="364"/>
              </a:cxn>
              <a:cxn ang="0">
                <a:pos x="338" y="427"/>
              </a:cxn>
              <a:cxn ang="0">
                <a:pos x="321" y="470"/>
              </a:cxn>
              <a:cxn ang="0">
                <a:pos x="318" y="500"/>
              </a:cxn>
              <a:cxn ang="0">
                <a:pos x="310" y="531"/>
              </a:cxn>
              <a:cxn ang="0">
                <a:pos x="281" y="602"/>
              </a:cxn>
              <a:cxn ang="0">
                <a:pos x="260" y="637"/>
              </a:cxn>
              <a:cxn ang="0">
                <a:pos x="242" y="655"/>
              </a:cxn>
              <a:cxn ang="0">
                <a:pos x="232" y="660"/>
              </a:cxn>
              <a:cxn ang="0">
                <a:pos x="228" y="714"/>
              </a:cxn>
              <a:cxn ang="0">
                <a:pos x="215" y="759"/>
              </a:cxn>
              <a:cxn ang="0">
                <a:pos x="191" y="795"/>
              </a:cxn>
              <a:cxn ang="0">
                <a:pos x="157" y="819"/>
              </a:cxn>
              <a:cxn ang="0">
                <a:pos x="110" y="831"/>
              </a:cxn>
              <a:cxn ang="0">
                <a:pos x="80" y="827"/>
              </a:cxn>
              <a:cxn ang="0">
                <a:pos x="73" y="817"/>
              </a:cxn>
              <a:cxn ang="0">
                <a:pos x="50" y="810"/>
              </a:cxn>
              <a:cxn ang="0">
                <a:pos x="26" y="798"/>
              </a:cxn>
              <a:cxn ang="0">
                <a:pos x="12" y="777"/>
              </a:cxn>
              <a:cxn ang="0">
                <a:pos x="3" y="752"/>
              </a:cxn>
              <a:cxn ang="0">
                <a:pos x="0" y="708"/>
              </a:cxn>
              <a:cxn ang="0">
                <a:pos x="4" y="694"/>
              </a:cxn>
              <a:cxn ang="0">
                <a:pos x="19" y="678"/>
              </a:cxn>
              <a:cxn ang="0">
                <a:pos x="11" y="672"/>
              </a:cxn>
              <a:cxn ang="0">
                <a:pos x="0" y="652"/>
              </a:cxn>
              <a:cxn ang="0">
                <a:pos x="5" y="628"/>
              </a:cxn>
              <a:cxn ang="0">
                <a:pos x="8" y="610"/>
              </a:cxn>
              <a:cxn ang="0">
                <a:pos x="5" y="591"/>
              </a:cxn>
              <a:cxn ang="0">
                <a:pos x="18" y="587"/>
              </a:cxn>
              <a:cxn ang="0">
                <a:pos x="43" y="568"/>
              </a:cxn>
              <a:cxn ang="0">
                <a:pos x="63" y="538"/>
              </a:cxn>
              <a:cxn ang="0">
                <a:pos x="76" y="506"/>
              </a:cxn>
              <a:cxn ang="0">
                <a:pos x="86" y="462"/>
              </a:cxn>
              <a:cxn ang="0">
                <a:pos x="83" y="438"/>
              </a:cxn>
              <a:cxn ang="0">
                <a:pos x="70" y="408"/>
              </a:cxn>
              <a:cxn ang="0">
                <a:pos x="56" y="382"/>
              </a:cxn>
              <a:cxn ang="0">
                <a:pos x="53" y="363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101"/>
              </a:cxn>
              <a:cxn ang="0">
                <a:pos x="78" y="104"/>
              </a:cxn>
              <a:cxn ang="0">
                <a:pos x="75" y="107"/>
              </a:cxn>
              <a:cxn ang="0">
                <a:pos x="70" y="109"/>
              </a:cxn>
              <a:cxn ang="0">
                <a:pos x="67" y="111"/>
              </a:cxn>
              <a:cxn ang="0">
                <a:pos x="58" y="114"/>
              </a:cxn>
              <a:cxn ang="0">
                <a:pos x="48" y="116"/>
              </a:cxn>
              <a:cxn ang="0">
                <a:pos x="36" y="117"/>
              </a:cxn>
              <a:cxn ang="0">
                <a:pos x="25" y="119"/>
              </a:cxn>
              <a:cxn ang="0">
                <a:pos x="13" y="123"/>
              </a:cxn>
              <a:cxn ang="0">
                <a:pos x="0" y="126"/>
              </a:cxn>
              <a:cxn ang="0">
                <a:pos x="7" y="40"/>
              </a:cxn>
              <a:cxn ang="0">
                <a:pos x="23" y="27"/>
              </a:cxn>
              <a:cxn ang="0">
                <a:pos x="41" y="12"/>
              </a:cxn>
              <a:cxn ang="0">
                <a:pos x="51" y="5"/>
              </a:cxn>
              <a:cxn ang="0">
                <a:pos x="60" y="1"/>
              </a:cxn>
              <a:cxn ang="0">
                <a:pos x="65" y="0"/>
              </a:cxn>
              <a:cxn ang="0">
                <a:pos x="70" y="0"/>
              </a:cxn>
              <a:cxn ang="0">
                <a:pos x="75" y="1"/>
              </a:cxn>
              <a:cxn ang="0">
                <a:pos x="80" y="2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16" y="15"/>
              </a:cxn>
              <a:cxn ang="0">
                <a:pos x="122" y="35"/>
              </a:cxn>
              <a:cxn ang="0">
                <a:pos x="124" y="45"/>
              </a:cxn>
              <a:cxn ang="0">
                <a:pos x="124" y="54"/>
              </a:cxn>
              <a:cxn ang="0">
                <a:pos x="124" y="59"/>
              </a:cxn>
              <a:cxn ang="0">
                <a:pos x="123" y="64"/>
              </a:cxn>
              <a:cxn ang="0">
                <a:pos x="122" y="69"/>
              </a:cxn>
              <a:cxn ang="0">
                <a:pos x="119" y="73"/>
              </a:cxn>
              <a:cxn ang="0">
                <a:pos x="114" y="72"/>
              </a:cxn>
              <a:cxn ang="0">
                <a:pos x="108" y="71"/>
              </a:cxn>
              <a:cxn ang="0">
                <a:pos x="103" y="72"/>
              </a:cxn>
              <a:cxn ang="0">
                <a:pos x="96" y="73"/>
              </a:cxn>
              <a:cxn ang="0">
                <a:pos x="83" y="78"/>
              </a:cxn>
              <a:cxn ang="0">
                <a:pos x="71" y="85"/>
              </a:cxn>
              <a:cxn ang="0">
                <a:pos x="46" y="103"/>
              </a:cxn>
              <a:cxn ang="0">
                <a:pos x="26" y="117"/>
              </a:cxn>
              <a:cxn ang="0">
                <a:pos x="23" y="112"/>
              </a:cxn>
              <a:cxn ang="0">
                <a:pos x="13" y="101"/>
              </a:cxn>
              <a:cxn ang="0">
                <a:pos x="4" y="89"/>
              </a:cxn>
              <a:cxn ang="0">
                <a:pos x="0" y="79"/>
              </a:cxn>
              <a:cxn ang="0">
                <a:pos x="1" y="76"/>
              </a:cxn>
              <a:cxn ang="0">
                <a:pos x="2" y="72"/>
              </a:cxn>
              <a:cxn ang="0">
                <a:pos x="5" y="67"/>
              </a:cxn>
              <a:cxn ang="0">
                <a:pos x="9" y="62"/>
              </a:cxn>
              <a:cxn ang="0">
                <a:pos x="17" y="52"/>
              </a:cxn>
              <a:cxn ang="0">
                <a:pos x="27" y="42"/>
              </a:cxn>
              <a:cxn ang="0">
                <a:pos x="48" y="22"/>
              </a:cxn>
              <a:cxn ang="0">
                <a:pos x="60" y="12"/>
              </a:cxn>
              <a:cxn ang="0">
                <a:pos x="73" y="12"/>
              </a:cxn>
              <a:cxn ang="0">
                <a:pos x="86" y="12"/>
              </a:cxn>
              <a:cxn ang="0">
                <a:pos x="100" y="6"/>
              </a:cxn>
              <a:cxn ang="0">
                <a:pos x="113" y="0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/>
            <a:ahLst/>
            <a:cxnLst>
              <a:cxn ang="0">
                <a:pos x="928" y="191"/>
              </a:cxn>
              <a:cxn ang="0">
                <a:pos x="859" y="162"/>
              </a:cxn>
              <a:cxn ang="0">
                <a:pos x="773" y="111"/>
              </a:cxn>
              <a:cxn ang="0">
                <a:pos x="617" y="104"/>
              </a:cxn>
              <a:cxn ang="0">
                <a:pos x="551" y="154"/>
              </a:cxn>
              <a:cxn ang="0">
                <a:pos x="504" y="179"/>
              </a:cxn>
              <a:cxn ang="0">
                <a:pos x="426" y="197"/>
              </a:cxn>
              <a:cxn ang="0">
                <a:pos x="383" y="199"/>
              </a:cxn>
              <a:cxn ang="0">
                <a:pos x="355" y="173"/>
              </a:cxn>
              <a:cxn ang="0">
                <a:pos x="260" y="136"/>
              </a:cxn>
              <a:cxn ang="0">
                <a:pos x="228" y="86"/>
              </a:cxn>
              <a:cxn ang="0">
                <a:pos x="220" y="23"/>
              </a:cxn>
              <a:cxn ang="0">
                <a:pos x="188" y="1"/>
              </a:cxn>
              <a:cxn ang="0">
                <a:pos x="155" y="21"/>
              </a:cxn>
              <a:cxn ang="0">
                <a:pos x="136" y="67"/>
              </a:cxn>
              <a:cxn ang="0">
                <a:pos x="79" y="54"/>
              </a:cxn>
              <a:cxn ang="0">
                <a:pos x="4" y="16"/>
              </a:cxn>
              <a:cxn ang="0">
                <a:pos x="5" y="72"/>
              </a:cxn>
              <a:cxn ang="0">
                <a:pos x="45" y="146"/>
              </a:cxn>
              <a:cxn ang="0">
                <a:pos x="73" y="205"/>
              </a:cxn>
              <a:cxn ang="0">
                <a:pos x="135" y="284"/>
              </a:cxn>
              <a:cxn ang="0">
                <a:pos x="122" y="316"/>
              </a:cxn>
              <a:cxn ang="0">
                <a:pos x="133" y="370"/>
              </a:cxn>
              <a:cxn ang="0">
                <a:pos x="188" y="428"/>
              </a:cxn>
              <a:cxn ang="0">
                <a:pos x="259" y="456"/>
              </a:cxn>
              <a:cxn ang="0">
                <a:pos x="259" y="524"/>
              </a:cxn>
              <a:cxn ang="0">
                <a:pos x="335" y="581"/>
              </a:cxn>
              <a:cxn ang="0">
                <a:pos x="423" y="664"/>
              </a:cxn>
              <a:cxn ang="0">
                <a:pos x="471" y="720"/>
              </a:cxn>
              <a:cxn ang="0">
                <a:pos x="504" y="733"/>
              </a:cxn>
              <a:cxn ang="0">
                <a:pos x="542" y="755"/>
              </a:cxn>
              <a:cxn ang="0">
                <a:pos x="598" y="787"/>
              </a:cxn>
              <a:cxn ang="0">
                <a:pos x="685" y="795"/>
              </a:cxn>
              <a:cxn ang="0">
                <a:pos x="732" y="780"/>
              </a:cxn>
              <a:cxn ang="0">
                <a:pos x="779" y="764"/>
              </a:cxn>
              <a:cxn ang="0">
                <a:pos x="801" y="796"/>
              </a:cxn>
              <a:cxn ang="0">
                <a:pos x="813" y="857"/>
              </a:cxn>
              <a:cxn ang="0">
                <a:pos x="874" y="874"/>
              </a:cxn>
              <a:cxn ang="0">
                <a:pos x="1011" y="892"/>
              </a:cxn>
              <a:cxn ang="0">
                <a:pos x="1091" y="879"/>
              </a:cxn>
              <a:cxn ang="0">
                <a:pos x="1099" y="831"/>
              </a:cxn>
              <a:cxn ang="0">
                <a:pos x="1156" y="770"/>
              </a:cxn>
              <a:cxn ang="0">
                <a:pos x="1132" y="750"/>
              </a:cxn>
              <a:cxn ang="0">
                <a:pos x="1096" y="708"/>
              </a:cxn>
              <a:cxn ang="0">
                <a:pos x="1031" y="643"/>
              </a:cxn>
              <a:cxn ang="0">
                <a:pos x="1018" y="603"/>
              </a:cxn>
              <a:cxn ang="0">
                <a:pos x="1044" y="559"/>
              </a:cxn>
              <a:cxn ang="0">
                <a:pos x="1048" y="526"/>
              </a:cxn>
              <a:cxn ang="0">
                <a:pos x="1030" y="512"/>
              </a:cxn>
              <a:cxn ang="0">
                <a:pos x="983" y="507"/>
              </a:cxn>
              <a:cxn ang="0">
                <a:pos x="954" y="453"/>
              </a:cxn>
              <a:cxn ang="0">
                <a:pos x="937" y="373"/>
              </a:cxn>
              <a:cxn ang="0">
                <a:pos x="924" y="357"/>
              </a:cxn>
              <a:cxn ang="0">
                <a:pos x="940" y="334"/>
              </a:cxn>
              <a:cxn ang="0">
                <a:pos x="960" y="293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/>
            <a:ahLst/>
            <a:cxnLst>
              <a:cxn ang="0">
                <a:pos x="26" y="190"/>
              </a:cxn>
              <a:cxn ang="0">
                <a:pos x="37" y="177"/>
              </a:cxn>
              <a:cxn ang="0">
                <a:pos x="41" y="164"/>
              </a:cxn>
              <a:cxn ang="0">
                <a:pos x="39" y="129"/>
              </a:cxn>
              <a:cxn ang="0">
                <a:pos x="44" y="120"/>
              </a:cxn>
              <a:cxn ang="0">
                <a:pos x="55" y="112"/>
              </a:cxn>
              <a:cxn ang="0">
                <a:pos x="68" y="107"/>
              </a:cxn>
              <a:cxn ang="0">
                <a:pos x="80" y="104"/>
              </a:cxn>
              <a:cxn ang="0">
                <a:pos x="103" y="106"/>
              </a:cxn>
              <a:cxn ang="0">
                <a:pos x="124" y="109"/>
              </a:cxn>
              <a:cxn ang="0">
                <a:pos x="158" y="120"/>
              </a:cxn>
              <a:cxn ang="0">
                <a:pos x="184" y="135"/>
              </a:cxn>
              <a:cxn ang="0">
                <a:pos x="206" y="154"/>
              </a:cxn>
              <a:cxn ang="0">
                <a:pos x="254" y="92"/>
              </a:cxn>
              <a:cxn ang="0">
                <a:pos x="285" y="49"/>
              </a:cxn>
              <a:cxn ang="0">
                <a:pos x="538" y="43"/>
              </a:cxn>
              <a:cxn ang="0">
                <a:pos x="557" y="78"/>
              </a:cxn>
              <a:cxn ang="0">
                <a:pos x="562" y="98"/>
              </a:cxn>
              <a:cxn ang="0">
                <a:pos x="564" y="123"/>
              </a:cxn>
              <a:cxn ang="0">
                <a:pos x="568" y="151"/>
              </a:cxn>
              <a:cxn ang="0">
                <a:pos x="571" y="178"/>
              </a:cxn>
              <a:cxn ang="0">
                <a:pos x="564" y="180"/>
              </a:cxn>
              <a:cxn ang="0">
                <a:pos x="562" y="179"/>
              </a:cxn>
              <a:cxn ang="0">
                <a:pos x="558" y="184"/>
              </a:cxn>
              <a:cxn ang="0">
                <a:pos x="548" y="207"/>
              </a:cxn>
              <a:cxn ang="0">
                <a:pos x="534" y="225"/>
              </a:cxn>
              <a:cxn ang="0">
                <a:pos x="515" y="239"/>
              </a:cxn>
              <a:cxn ang="0">
                <a:pos x="494" y="249"/>
              </a:cxn>
              <a:cxn ang="0">
                <a:pos x="405" y="283"/>
              </a:cxn>
              <a:cxn ang="0">
                <a:pos x="347" y="307"/>
              </a:cxn>
              <a:cxn ang="0">
                <a:pos x="295" y="328"/>
              </a:cxn>
              <a:cxn ang="0">
                <a:pos x="245" y="345"/>
              </a:cxn>
              <a:cxn ang="0">
                <a:pos x="186" y="363"/>
              </a:cxn>
              <a:cxn ang="0">
                <a:pos x="167" y="371"/>
              </a:cxn>
              <a:cxn ang="0">
                <a:pos x="149" y="381"/>
              </a:cxn>
              <a:cxn ang="0">
                <a:pos x="119" y="403"/>
              </a:cxn>
              <a:cxn ang="0">
                <a:pos x="92" y="426"/>
              </a:cxn>
              <a:cxn ang="0">
                <a:pos x="67" y="443"/>
              </a:cxn>
              <a:cxn ang="0">
                <a:pos x="50" y="378"/>
              </a:cxn>
              <a:cxn ang="0">
                <a:pos x="33" y="313"/>
              </a:cxn>
              <a:cxn ang="0">
                <a:pos x="16" y="251"/>
              </a:cxn>
              <a:cxn ang="0">
                <a:pos x="0" y="196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/>
            <a:ahLst/>
            <a:cxnLst>
              <a:cxn ang="0">
                <a:pos x="0" y="111"/>
              </a:cxn>
              <a:cxn ang="0">
                <a:pos x="4" y="109"/>
              </a:cxn>
              <a:cxn ang="0">
                <a:pos x="7" y="109"/>
              </a:cxn>
              <a:cxn ang="0">
                <a:pos x="10" y="110"/>
              </a:cxn>
              <a:cxn ang="0">
                <a:pos x="11" y="111"/>
              </a:cxn>
              <a:cxn ang="0">
                <a:pos x="12" y="117"/>
              </a:cxn>
              <a:cxn ang="0">
                <a:pos x="13" y="123"/>
              </a:cxn>
              <a:cxn ang="0">
                <a:pos x="14" y="128"/>
              </a:cxn>
              <a:cxn ang="0">
                <a:pos x="16" y="131"/>
              </a:cxn>
              <a:cxn ang="0">
                <a:pos x="19" y="134"/>
              </a:cxn>
              <a:cxn ang="0">
                <a:pos x="24" y="136"/>
              </a:cxn>
              <a:cxn ang="0">
                <a:pos x="29" y="137"/>
              </a:cxn>
              <a:cxn ang="0">
                <a:pos x="37" y="138"/>
              </a:cxn>
              <a:cxn ang="0">
                <a:pos x="48" y="138"/>
              </a:cxn>
              <a:cxn ang="0">
                <a:pos x="60" y="136"/>
              </a:cxn>
              <a:cxn ang="0">
                <a:pos x="98" y="130"/>
              </a:cxn>
              <a:cxn ang="0">
                <a:pos x="129" y="122"/>
              </a:cxn>
              <a:cxn ang="0">
                <a:pos x="143" y="118"/>
              </a:cxn>
              <a:cxn ang="0">
                <a:pos x="156" y="114"/>
              </a:cxn>
              <a:cxn ang="0">
                <a:pos x="167" y="109"/>
              </a:cxn>
              <a:cxn ang="0">
                <a:pos x="178" y="103"/>
              </a:cxn>
              <a:cxn ang="0">
                <a:pos x="188" y="96"/>
              </a:cxn>
              <a:cxn ang="0">
                <a:pos x="198" y="87"/>
              </a:cxn>
              <a:cxn ang="0">
                <a:pos x="208" y="78"/>
              </a:cxn>
              <a:cxn ang="0">
                <a:pos x="219" y="65"/>
              </a:cxn>
              <a:cxn ang="0">
                <a:pos x="229" y="52"/>
              </a:cxn>
              <a:cxn ang="0">
                <a:pos x="241" y="37"/>
              </a:cxn>
              <a:cxn ang="0">
                <a:pos x="253" y="20"/>
              </a:cxn>
              <a:cxn ang="0">
                <a:pos x="266" y="0"/>
              </a:cxn>
              <a:cxn ang="0">
                <a:pos x="270" y="7"/>
              </a:cxn>
              <a:cxn ang="0">
                <a:pos x="274" y="13"/>
              </a:cxn>
              <a:cxn ang="0">
                <a:pos x="276" y="20"/>
              </a:cxn>
              <a:cxn ang="0">
                <a:pos x="279" y="27"/>
              </a:cxn>
              <a:cxn ang="0">
                <a:pos x="282" y="42"/>
              </a:cxn>
              <a:cxn ang="0">
                <a:pos x="286" y="62"/>
              </a:cxn>
              <a:cxn ang="0">
                <a:pos x="246" y="198"/>
              </a:cxn>
              <a:cxn ang="0">
                <a:pos x="226" y="228"/>
              </a:cxn>
              <a:cxn ang="0">
                <a:pos x="53" y="210"/>
              </a:cxn>
              <a:cxn ang="0">
                <a:pos x="0" y="111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/>
            <a:ahLst/>
            <a:cxnLst>
              <a:cxn ang="0">
                <a:pos x="478" y="370"/>
              </a:cxn>
              <a:cxn ang="0">
                <a:pos x="484" y="346"/>
              </a:cxn>
              <a:cxn ang="0">
                <a:pos x="483" y="329"/>
              </a:cxn>
              <a:cxn ang="0">
                <a:pos x="478" y="302"/>
              </a:cxn>
              <a:cxn ang="0">
                <a:pos x="455" y="299"/>
              </a:cxn>
              <a:cxn ang="0">
                <a:pos x="431" y="288"/>
              </a:cxn>
              <a:cxn ang="0">
                <a:pos x="407" y="274"/>
              </a:cxn>
              <a:cxn ang="0">
                <a:pos x="386" y="256"/>
              </a:cxn>
              <a:cxn ang="0">
                <a:pos x="366" y="237"/>
              </a:cxn>
              <a:cxn ang="0">
                <a:pos x="352" y="216"/>
              </a:cxn>
              <a:cxn ang="0">
                <a:pos x="342" y="196"/>
              </a:cxn>
              <a:cxn ang="0">
                <a:pos x="339" y="178"/>
              </a:cxn>
              <a:cxn ang="0">
                <a:pos x="341" y="162"/>
              </a:cxn>
              <a:cxn ang="0">
                <a:pos x="349" y="150"/>
              </a:cxn>
              <a:cxn ang="0">
                <a:pos x="365" y="136"/>
              </a:cxn>
              <a:cxn ang="0">
                <a:pos x="354" y="130"/>
              </a:cxn>
              <a:cxn ang="0">
                <a:pos x="341" y="119"/>
              </a:cxn>
              <a:cxn ang="0">
                <a:pos x="315" y="87"/>
              </a:cxn>
              <a:cxn ang="0">
                <a:pos x="292" y="51"/>
              </a:cxn>
              <a:cxn ang="0">
                <a:pos x="279" y="25"/>
              </a:cxn>
              <a:cxn ang="0">
                <a:pos x="260" y="24"/>
              </a:cxn>
              <a:cxn ang="0">
                <a:pos x="239" y="19"/>
              </a:cxn>
              <a:cxn ang="0">
                <a:pos x="219" y="11"/>
              </a:cxn>
              <a:cxn ang="0">
                <a:pos x="197" y="6"/>
              </a:cxn>
              <a:cxn ang="0">
                <a:pos x="170" y="3"/>
              </a:cxn>
              <a:cxn ang="0">
                <a:pos x="149" y="8"/>
              </a:cxn>
              <a:cxn ang="0">
                <a:pos x="114" y="41"/>
              </a:cxn>
              <a:cxn ang="0">
                <a:pos x="98" y="57"/>
              </a:cxn>
              <a:cxn ang="0">
                <a:pos x="93" y="64"/>
              </a:cxn>
              <a:cxn ang="0">
                <a:pos x="94" y="94"/>
              </a:cxn>
              <a:cxn ang="0">
                <a:pos x="95" y="140"/>
              </a:cxn>
              <a:cxn ang="0">
                <a:pos x="94" y="164"/>
              </a:cxn>
              <a:cxn ang="0">
                <a:pos x="86" y="180"/>
              </a:cxn>
              <a:cxn ang="0">
                <a:pos x="67" y="197"/>
              </a:cxn>
              <a:cxn ang="0">
                <a:pos x="40" y="214"/>
              </a:cxn>
              <a:cxn ang="0">
                <a:pos x="13" y="228"/>
              </a:cxn>
              <a:cxn ang="0">
                <a:pos x="2" y="246"/>
              </a:cxn>
              <a:cxn ang="0">
                <a:pos x="2" y="264"/>
              </a:cxn>
              <a:cxn ang="0">
                <a:pos x="0" y="278"/>
              </a:cxn>
              <a:cxn ang="0">
                <a:pos x="0" y="289"/>
              </a:cxn>
              <a:cxn ang="0">
                <a:pos x="7" y="301"/>
              </a:cxn>
              <a:cxn ang="0">
                <a:pos x="26" y="314"/>
              </a:cxn>
              <a:cxn ang="0">
                <a:pos x="62" y="331"/>
              </a:cxn>
              <a:cxn ang="0">
                <a:pos x="120" y="355"/>
              </a:cxn>
              <a:cxn ang="0">
                <a:pos x="180" y="374"/>
              </a:cxn>
              <a:cxn ang="0">
                <a:pos x="214" y="385"/>
              </a:cxn>
              <a:cxn ang="0">
                <a:pos x="237" y="400"/>
              </a:cxn>
              <a:cxn ang="0">
                <a:pos x="252" y="418"/>
              </a:cxn>
              <a:cxn ang="0">
                <a:pos x="262" y="435"/>
              </a:cxn>
              <a:cxn ang="0">
                <a:pos x="266" y="451"/>
              </a:cxn>
              <a:cxn ang="0">
                <a:pos x="270" y="469"/>
              </a:cxn>
              <a:cxn ang="0">
                <a:pos x="277" y="481"/>
              </a:cxn>
              <a:cxn ang="0">
                <a:pos x="287" y="489"/>
              </a:cxn>
              <a:cxn ang="0">
                <a:pos x="307" y="497"/>
              </a:cxn>
              <a:cxn ang="0">
                <a:pos x="328" y="503"/>
              </a:cxn>
              <a:cxn ang="0">
                <a:pos x="335" y="500"/>
              </a:cxn>
              <a:cxn ang="0">
                <a:pos x="346" y="499"/>
              </a:cxn>
              <a:cxn ang="0">
                <a:pos x="366" y="503"/>
              </a:cxn>
              <a:cxn ang="0">
                <a:pos x="383" y="505"/>
              </a:cxn>
              <a:cxn ang="0">
                <a:pos x="437" y="505"/>
              </a:cxn>
              <a:cxn ang="0">
                <a:pos x="465" y="449"/>
              </a:cxn>
              <a:cxn ang="0">
                <a:pos x="492" y="437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/>
            <a:ahLst/>
            <a:cxnLst>
              <a:cxn ang="0">
                <a:pos x="62" y="196"/>
              </a:cxn>
              <a:cxn ang="0">
                <a:pos x="93" y="190"/>
              </a:cxn>
              <a:cxn ang="0">
                <a:pos x="128" y="182"/>
              </a:cxn>
              <a:cxn ang="0">
                <a:pos x="175" y="151"/>
              </a:cxn>
              <a:cxn ang="0">
                <a:pos x="194" y="126"/>
              </a:cxn>
              <a:cxn ang="0">
                <a:pos x="199" y="88"/>
              </a:cxn>
              <a:cxn ang="0">
                <a:pos x="208" y="69"/>
              </a:cxn>
              <a:cxn ang="0">
                <a:pos x="240" y="60"/>
              </a:cxn>
              <a:cxn ang="0">
                <a:pos x="294" y="62"/>
              </a:cxn>
              <a:cxn ang="0">
                <a:pos x="329" y="71"/>
              </a:cxn>
              <a:cxn ang="0">
                <a:pos x="362" y="90"/>
              </a:cxn>
              <a:cxn ang="0">
                <a:pos x="386" y="93"/>
              </a:cxn>
              <a:cxn ang="0">
                <a:pos x="419" y="84"/>
              </a:cxn>
              <a:cxn ang="0">
                <a:pos x="460" y="61"/>
              </a:cxn>
              <a:cxn ang="0">
                <a:pos x="479" y="33"/>
              </a:cxn>
              <a:cxn ang="0">
                <a:pos x="508" y="4"/>
              </a:cxn>
              <a:cxn ang="0">
                <a:pos x="530" y="19"/>
              </a:cxn>
              <a:cxn ang="0">
                <a:pos x="550" y="45"/>
              </a:cxn>
              <a:cxn ang="0">
                <a:pos x="561" y="87"/>
              </a:cxn>
              <a:cxn ang="0">
                <a:pos x="570" y="101"/>
              </a:cxn>
              <a:cxn ang="0">
                <a:pos x="589" y="104"/>
              </a:cxn>
              <a:cxn ang="0">
                <a:pos x="622" y="73"/>
              </a:cxn>
              <a:cxn ang="0">
                <a:pos x="743" y="66"/>
              </a:cxn>
              <a:cxn ang="0">
                <a:pos x="759" y="87"/>
              </a:cxn>
              <a:cxn ang="0">
                <a:pos x="679" y="100"/>
              </a:cxn>
              <a:cxn ang="0">
                <a:pos x="605" y="112"/>
              </a:cxn>
              <a:cxn ang="0">
                <a:pos x="574" y="130"/>
              </a:cxn>
              <a:cxn ang="0">
                <a:pos x="571" y="147"/>
              </a:cxn>
              <a:cxn ang="0">
                <a:pos x="582" y="164"/>
              </a:cxn>
              <a:cxn ang="0">
                <a:pos x="601" y="180"/>
              </a:cxn>
              <a:cxn ang="0">
                <a:pos x="604" y="195"/>
              </a:cxn>
              <a:cxn ang="0">
                <a:pos x="594" y="213"/>
              </a:cxn>
              <a:cxn ang="0">
                <a:pos x="574" y="237"/>
              </a:cxn>
              <a:cxn ang="0">
                <a:pos x="565" y="255"/>
              </a:cxn>
              <a:cxn ang="0">
                <a:pos x="542" y="269"/>
              </a:cxn>
              <a:cxn ang="0">
                <a:pos x="519" y="310"/>
              </a:cxn>
              <a:cxn ang="0">
                <a:pos x="508" y="363"/>
              </a:cxn>
              <a:cxn ang="0">
                <a:pos x="497" y="425"/>
              </a:cxn>
              <a:cxn ang="0">
                <a:pos x="477" y="412"/>
              </a:cxn>
              <a:cxn ang="0">
                <a:pos x="460" y="407"/>
              </a:cxn>
              <a:cxn ang="0">
                <a:pos x="439" y="418"/>
              </a:cxn>
              <a:cxn ang="0">
                <a:pos x="411" y="440"/>
              </a:cxn>
              <a:cxn ang="0">
                <a:pos x="393" y="444"/>
              </a:cxn>
              <a:cxn ang="0">
                <a:pos x="375" y="463"/>
              </a:cxn>
              <a:cxn ang="0">
                <a:pos x="365" y="511"/>
              </a:cxn>
              <a:cxn ang="0">
                <a:pos x="350" y="525"/>
              </a:cxn>
              <a:cxn ang="0">
                <a:pos x="270" y="546"/>
              </a:cxn>
              <a:cxn ang="0">
                <a:pos x="194" y="554"/>
              </a:cxn>
              <a:cxn ang="0">
                <a:pos x="113" y="542"/>
              </a:cxn>
              <a:cxn ang="0">
                <a:pos x="95" y="518"/>
              </a:cxn>
              <a:cxn ang="0">
                <a:pos x="115" y="488"/>
              </a:cxn>
              <a:cxn ang="0">
                <a:pos x="125" y="462"/>
              </a:cxn>
              <a:cxn ang="0">
                <a:pos x="123" y="442"/>
              </a:cxn>
              <a:cxn ang="0">
                <a:pos x="111" y="433"/>
              </a:cxn>
              <a:cxn ang="0">
                <a:pos x="69" y="431"/>
              </a:cxn>
              <a:cxn ang="0">
                <a:pos x="52" y="421"/>
              </a:cxn>
              <a:cxn ang="0">
                <a:pos x="34" y="384"/>
              </a:cxn>
              <a:cxn ang="0">
                <a:pos x="19" y="309"/>
              </a:cxn>
              <a:cxn ang="0">
                <a:pos x="10" y="291"/>
              </a:cxn>
              <a:cxn ang="0">
                <a:pos x="0" y="280"/>
              </a:cxn>
              <a:cxn ang="0">
                <a:pos x="2" y="268"/>
              </a:cxn>
              <a:cxn ang="0">
                <a:pos x="22" y="248"/>
              </a:cxn>
              <a:cxn ang="0">
                <a:pos x="34" y="221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/>
            <a:ahLst/>
            <a:cxnLst>
              <a:cxn ang="0">
                <a:pos x="779" y="82"/>
              </a:cxn>
              <a:cxn ang="0">
                <a:pos x="707" y="29"/>
              </a:cxn>
              <a:cxn ang="0">
                <a:pos x="562" y="10"/>
              </a:cxn>
              <a:cxn ang="0">
                <a:pos x="499" y="29"/>
              </a:cxn>
              <a:cxn ang="0">
                <a:pos x="486" y="49"/>
              </a:cxn>
              <a:cxn ang="0">
                <a:pos x="497" y="71"/>
              </a:cxn>
              <a:cxn ang="0">
                <a:pos x="517" y="90"/>
              </a:cxn>
              <a:cxn ang="0">
                <a:pos x="516" y="111"/>
              </a:cxn>
              <a:cxn ang="0">
                <a:pos x="491" y="140"/>
              </a:cxn>
              <a:cxn ang="0">
                <a:pos x="480" y="162"/>
              </a:cxn>
              <a:cxn ang="0">
                <a:pos x="450" y="184"/>
              </a:cxn>
              <a:cxn ang="0">
                <a:pos x="427" y="243"/>
              </a:cxn>
              <a:cxn ang="0">
                <a:pos x="420" y="332"/>
              </a:cxn>
              <a:cxn ang="0">
                <a:pos x="392" y="319"/>
              </a:cxn>
              <a:cxn ang="0">
                <a:pos x="370" y="315"/>
              </a:cxn>
              <a:cxn ang="0">
                <a:pos x="338" y="339"/>
              </a:cxn>
              <a:cxn ang="0">
                <a:pos x="313" y="351"/>
              </a:cxn>
              <a:cxn ang="0">
                <a:pos x="290" y="370"/>
              </a:cxn>
              <a:cxn ang="0">
                <a:pos x="280" y="424"/>
              </a:cxn>
              <a:cxn ang="0">
                <a:pos x="235" y="442"/>
              </a:cxn>
              <a:cxn ang="0">
                <a:pos x="127" y="462"/>
              </a:cxn>
              <a:cxn ang="0">
                <a:pos x="26" y="449"/>
              </a:cxn>
              <a:cxn ang="0">
                <a:pos x="51" y="505"/>
              </a:cxn>
              <a:cxn ang="0">
                <a:pos x="96" y="540"/>
              </a:cxn>
              <a:cxn ang="0">
                <a:pos x="123" y="577"/>
              </a:cxn>
              <a:cxn ang="0">
                <a:pos x="142" y="596"/>
              </a:cxn>
              <a:cxn ang="0">
                <a:pos x="99" y="647"/>
              </a:cxn>
              <a:cxn ang="0">
                <a:pos x="87" y="671"/>
              </a:cxn>
              <a:cxn ang="0">
                <a:pos x="109" y="720"/>
              </a:cxn>
              <a:cxn ang="0">
                <a:pos x="222" y="710"/>
              </a:cxn>
              <a:cxn ang="0">
                <a:pos x="302" y="705"/>
              </a:cxn>
              <a:cxn ang="0">
                <a:pos x="330" y="721"/>
              </a:cxn>
              <a:cxn ang="0">
                <a:pos x="359" y="756"/>
              </a:cxn>
              <a:cxn ang="0">
                <a:pos x="408" y="785"/>
              </a:cxn>
              <a:cxn ang="0">
                <a:pos x="449" y="803"/>
              </a:cxn>
              <a:cxn ang="0">
                <a:pos x="460" y="791"/>
              </a:cxn>
              <a:cxn ang="0">
                <a:pos x="487" y="774"/>
              </a:cxn>
              <a:cxn ang="0">
                <a:pos x="554" y="764"/>
              </a:cxn>
              <a:cxn ang="0">
                <a:pos x="597" y="750"/>
              </a:cxn>
              <a:cxn ang="0">
                <a:pos x="618" y="727"/>
              </a:cxn>
              <a:cxn ang="0">
                <a:pos x="584" y="700"/>
              </a:cxn>
              <a:cxn ang="0">
                <a:pos x="542" y="641"/>
              </a:cxn>
              <a:cxn ang="0">
                <a:pos x="526" y="624"/>
              </a:cxn>
              <a:cxn ang="0">
                <a:pos x="526" y="578"/>
              </a:cxn>
              <a:cxn ang="0">
                <a:pos x="582" y="563"/>
              </a:cxn>
              <a:cxn ang="0">
                <a:pos x="622" y="531"/>
              </a:cxn>
              <a:cxn ang="0">
                <a:pos x="688" y="417"/>
              </a:cxn>
              <a:cxn ang="0">
                <a:pos x="730" y="368"/>
              </a:cxn>
              <a:cxn ang="0">
                <a:pos x="725" y="330"/>
              </a:cxn>
              <a:cxn ang="0">
                <a:pos x="729" y="305"/>
              </a:cxn>
              <a:cxn ang="0">
                <a:pos x="751" y="289"/>
              </a:cxn>
              <a:cxn ang="0">
                <a:pos x="670" y="207"/>
              </a:cxn>
              <a:cxn ang="0">
                <a:pos x="758" y="140"/>
              </a:cxn>
              <a:cxn ang="0">
                <a:pos x="805" y="123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/>
            <a:ahLst/>
            <a:cxnLst>
              <a:cxn ang="0">
                <a:pos x="438" y="1067"/>
              </a:cxn>
              <a:cxn ang="0">
                <a:pos x="443" y="1028"/>
              </a:cxn>
              <a:cxn ang="0">
                <a:pos x="399" y="1022"/>
              </a:cxn>
              <a:cxn ang="0">
                <a:pos x="405" y="957"/>
              </a:cxn>
              <a:cxn ang="0">
                <a:pos x="419" y="931"/>
              </a:cxn>
              <a:cxn ang="0">
                <a:pos x="413" y="899"/>
              </a:cxn>
              <a:cxn ang="0">
                <a:pos x="398" y="893"/>
              </a:cxn>
              <a:cxn ang="0">
                <a:pos x="382" y="838"/>
              </a:cxn>
              <a:cxn ang="0">
                <a:pos x="324" y="719"/>
              </a:cxn>
              <a:cxn ang="0">
                <a:pos x="296" y="703"/>
              </a:cxn>
              <a:cxn ang="0">
                <a:pos x="282" y="718"/>
              </a:cxn>
              <a:cxn ang="0">
                <a:pos x="226" y="742"/>
              </a:cxn>
              <a:cxn ang="0">
                <a:pos x="169" y="736"/>
              </a:cxn>
              <a:cxn ang="0">
                <a:pos x="133" y="567"/>
              </a:cxn>
              <a:cxn ang="0">
                <a:pos x="101" y="520"/>
              </a:cxn>
              <a:cxn ang="0">
                <a:pos x="51" y="502"/>
              </a:cxn>
              <a:cxn ang="0">
                <a:pos x="8" y="471"/>
              </a:cxn>
              <a:cxn ang="0">
                <a:pos x="23" y="445"/>
              </a:cxn>
              <a:cxn ang="0">
                <a:pos x="58" y="361"/>
              </a:cxn>
              <a:cxn ang="0">
                <a:pos x="67" y="277"/>
              </a:cxn>
              <a:cxn ang="0">
                <a:pos x="80" y="265"/>
              </a:cxn>
              <a:cxn ang="0">
                <a:pos x="113" y="258"/>
              </a:cxn>
              <a:cxn ang="0">
                <a:pos x="134" y="222"/>
              </a:cxn>
              <a:cxn ang="0">
                <a:pos x="140" y="117"/>
              </a:cxn>
              <a:cxn ang="0">
                <a:pos x="159" y="98"/>
              </a:cxn>
              <a:cxn ang="0">
                <a:pos x="213" y="74"/>
              </a:cxn>
              <a:cxn ang="0">
                <a:pos x="234" y="21"/>
              </a:cxn>
              <a:cxn ang="0">
                <a:pos x="277" y="31"/>
              </a:cxn>
              <a:cxn ang="0">
                <a:pos x="312" y="49"/>
              </a:cxn>
              <a:cxn ang="0">
                <a:pos x="337" y="122"/>
              </a:cxn>
              <a:cxn ang="0">
                <a:pos x="335" y="167"/>
              </a:cxn>
              <a:cxn ang="0">
                <a:pos x="300" y="216"/>
              </a:cxn>
              <a:cxn ang="0">
                <a:pos x="293" y="245"/>
              </a:cxn>
              <a:cxn ang="0">
                <a:pos x="309" y="261"/>
              </a:cxn>
              <a:cxn ang="0">
                <a:pos x="346" y="270"/>
              </a:cxn>
              <a:cxn ang="0">
                <a:pos x="371" y="291"/>
              </a:cxn>
              <a:cxn ang="0">
                <a:pos x="398" y="345"/>
              </a:cxn>
              <a:cxn ang="0">
                <a:pos x="430" y="400"/>
              </a:cxn>
              <a:cxn ang="0">
                <a:pos x="464" y="418"/>
              </a:cxn>
              <a:cxn ang="0">
                <a:pos x="505" y="418"/>
              </a:cxn>
              <a:cxn ang="0">
                <a:pos x="476" y="494"/>
              </a:cxn>
              <a:cxn ang="0">
                <a:pos x="427" y="510"/>
              </a:cxn>
              <a:cxn ang="0">
                <a:pos x="383" y="528"/>
              </a:cxn>
              <a:cxn ang="0">
                <a:pos x="360" y="572"/>
              </a:cxn>
              <a:cxn ang="0">
                <a:pos x="370" y="637"/>
              </a:cxn>
              <a:cxn ang="0">
                <a:pos x="402" y="683"/>
              </a:cxn>
              <a:cxn ang="0">
                <a:pos x="430" y="735"/>
              </a:cxn>
              <a:cxn ang="0">
                <a:pos x="428" y="776"/>
              </a:cxn>
              <a:cxn ang="0">
                <a:pos x="419" y="801"/>
              </a:cxn>
              <a:cxn ang="0">
                <a:pos x="435" y="851"/>
              </a:cxn>
              <a:cxn ang="0">
                <a:pos x="483" y="965"/>
              </a:cxn>
              <a:cxn ang="0">
                <a:pos x="458" y="1082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/>
            <a:ahLst/>
            <a:cxnLst>
              <a:cxn ang="0">
                <a:pos x="180" y="7"/>
              </a:cxn>
              <a:cxn ang="0">
                <a:pos x="171" y="24"/>
              </a:cxn>
              <a:cxn ang="0">
                <a:pos x="163" y="39"/>
              </a:cxn>
              <a:cxn ang="0">
                <a:pos x="152" y="53"/>
              </a:cxn>
              <a:cxn ang="0">
                <a:pos x="141" y="66"/>
              </a:cxn>
              <a:cxn ang="0">
                <a:pos x="129" y="80"/>
              </a:cxn>
              <a:cxn ang="0">
                <a:pos x="115" y="92"/>
              </a:cxn>
              <a:cxn ang="0">
                <a:pos x="101" y="102"/>
              </a:cxn>
              <a:cxn ang="0">
                <a:pos x="87" y="112"/>
              </a:cxn>
              <a:cxn ang="0">
                <a:pos x="82" y="107"/>
              </a:cxn>
              <a:cxn ang="0">
                <a:pos x="79" y="101"/>
              </a:cxn>
              <a:cxn ang="0">
                <a:pos x="76" y="95"/>
              </a:cxn>
              <a:cxn ang="0">
                <a:pos x="74" y="88"/>
              </a:cxn>
              <a:cxn ang="0">
                <a:pos x="70" y="81"/>
              </a:cxn>
              <a:cxn ang="0">
                <a:pos x="68" y="74"/>
              </a:cxn>
              <a:cxn ang="0">
                <a:pos x="65" y="69"/>
              </a:cxn>
              <a:cxn ang="0">
                <a:pos x="60" y="63"/>
              </a:cxn>
              <a:cxn ang="0">
                <a:pos x="45" y="48"/>
              </a:cxn>
              <a:cxn ang="0">
                <a:pos x="36" y="38"/>
              </a:cxn>
              <a:cxn ang="0">
                <a:pos x="30" y="33"/>
              </a:cxn>
              <a:cxn ang="0">
                <a:pos x="25" y="31"/>
              </a:cxn>
              <a:cxn ang="0">
                <a:pos x="18" y="30"/>
              </a:cxn>
              <a:cxn ang="0">
                <a:pos x="0" y="26"/>
              </a:cxn>
              <a:cxn ang="0">
                <a:pos x="26" y="14"/>
              </a:cxn>
              <a:cxn ang="0">
                <a:pos x="41" y="9"/>
              </a:cxn>
              <a:cxn ang="0">
                <a:pos x="56" y="5"/>
              </a:cxn>
              <a:cxn ang="0">
                <a:pos x="74" y="3"/>
              </a:cxn>
              <a:cxn ang="0">
                <a:pos x="93" y="1"/>
              </a:cxn>
              <a:cxn ang="0">
                <a:pos x="114" y="0"/>
              </a:cxn>
              <a:cxn ang="0">
                <a:pos x="135" y="1"/>
              </a:cxn>
              <a:cxn ang="0">
                <a:pos x="157" y="3"/>
              </a:cxn>
              <a:cxn ang="0">
                <a:pos x="180" y="7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27" y="42"/>
              </a:cxn>
              <a:cxn ang="0">
                <a:pos x="51" y="21"/>
              </a:cxn>
              <a:cxn ang="0">
                <a:pos x="56" y="16"/>
              </a:cxn>
              <a:cxn ang="0">
                <a:pos x="63" y="12"/>
              </a:cxn>
              <a:cxn ang="0">
                <a:pos x="70" y="8"/>
              </a:cxn>
              <a:cxn ang="0">
                <a:pos x="76" y="6"/>
              </a:cxn>
              <a:cxn ang="0">
                <a:pos x="83" y="3"/>
              </a:cxn>
              <a:cxn ang="0">
                <a:pos x="90" y="2"/>
              </a:cxn>
              <a:cxn ang="0">
                <a:pos x="98" y="1"/>
              </a:cxn>
              <a:cxn ang="0">
                <a:pos x="107" y="0"/>
              </a:cxn>
              <a:cxn ang="0">
                <a:pos x="116" y="1"/>
              </a:cxn>
              <a:cxn ang="0">
                <a:pos x="124" y="2"/>
              </a:cxn>
              <a:cxn ang="0">
                <a:pos x="132" y="5"/>
              </a:cxn>
              <a:cxn ang="0">
                <a:pos x="139" y="8"/>
              </a:cxn>
              <a:cxn ang="0">
                <a:pos x="145" y="13"/>
              </a:cxn>
              <a:cxn ang="0">
                <a:pos x="151" y="19"/>
              </a:cxn>
              <a:cxn ang="0">
                <a:pos x="155" y="24"/>
              </a:cxn>
              <a:cxn ang="0">
                <a:pos x="160" y="30"/>
              </a:cxn>
              <a:cxn ang="0">
                <a:pos x="163" y="37"/>
              </a:cxn>
              <a:cxn ang="0">
                <a:pos x="166" y="43"/>
              </a:cxn>
              <a:cxn ang="0">
                <a:pos x="168" y="50"/>
              </a:cxn>
              <a:cxn ang="0">
                <a:pos x="169" y="57"/>
              </a:cxn>
              <a:cxn ang="0">
                <a:pos x="172" y="72"/>
              </a:cxn>
              <a:cxn ang="0">
                <a:pos x="173" y="87"/>
              </a:cxn>
              <a:cxn ang="0">
                <a:pos x="157" y="114"/>
              </a:cxn>
              <a:cxn ang="0">
                <a:pos x="146" y="137"/>
              </a:cxn>
              <a:cxn ang="0">
                <a:pos x="139" y="148"/>
              </a:cxn>
              <a:cxn ang="0">
                <a:pos x="130" y="160"/>
              </a:cxn>
              <a:cxn ang="0">
                <a:pos x="117" y="174"/>
              </a:cxn>
              <a:cxn ang="0">
                <a:pos x="99" y="192"/>
              </a:cxn>
              <a:cxn ang="0">
                <a:pos x="86" y="183"/>
              </a:cxn>
              <a:cxn ang="0">
                <a:pos x="74" y="176"/>
              </a:cxn>
              <a:cxn ang="0">
                <a:pos x="63" y="169"/>
              </a:cxn>
              <a:cxn ang="0">
                <a:pos x="54" y="163"/>
              </a:cxn>
              <a:cxn ang="0">
                <a:pos x="46" y="156"/>
              </a:cxn>
              <a:cxn ang="0">
                <a:pos x="40" y="150"/>
              </a:cxn>
              <a:cxn ang="0">
                <a:pos x="34" y="144"/>
              </a:cxn>
              <a:cxn ang="0">
                <a:pos x="30" y="137"/>
              </a:cxn>
              <a:cxn ang="0">
                <a:pos x="22" y="123"/>
              </a:cxn>
              <a:cxn ang="0">
                <a:pos x="16" y="107"/>
              </a:cxn>
              <a:cxn ang="0">
                <a:pos x="9" y="90"/>
              </a:cxn>
              <a:cxn ang="0">
                <a:pos x="0" y="68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83" y="2"/>
              </a:cxn>
              <a:cxn ang="0">
                <a:pos x="89" y="3"/>
              </a:cxn>
              <a:cxn ang="0">
                <a:pos x="95" y="3"/>
              </a:cxn>
              <a:cxn ang="0">
                <a:pos x="99" y="2"/>
              </a:cxn>
              <a:cxn ang="0">
                <a:pos x="106" y="1"/>
              </a:cxn>
              <a:cxn ang="0">
                <a:pos x="113" y="0"/>
              </a:cxn>
              <a:cxn ang="0">
                <a:pos x="125" y="17"/>
              </a:cxn>
              <a:cxn ang="0">
                <a:pos x="140" y="37"/>
              </a:cxn>
              <a:cxn ang="0">
                <a:pos x="144" y="42"/>
              </a:cxn>
              <a:cxn ang="0">
                <a:pos x="148" y="46"/>
              </a:cxn>
              <a:cxn ang="0">
                <a:pos x="153" y="49"/>
              </a:cxn>
              <a:cxn ang="0">
                <a:pos x="157" y="52"/>
              </a:cxn>
              <a:cxn ang="0">
                <a:pos x="163" y="54"/>
              </a:cxn>
              <a:cxn ang="0">
                <a:pos x="168" y="56"/>
              </a:cxn>
              <a:cxn ang="0">
                <a:pos x="174" y="56"/>
              </a:cxn>
              <a:cxn ang="0">
                <a:pos x="180" y="56"/>
              </a:cxn>
              <a:cxn ang="0">
                <a:pos x="180" y="80"/>
              </a:cxn>
              <a:cxn ang="0">
                <a:pos x="193" y="103"/>
              </a:cxn>
              <a:cxn ang="0">
                <a:pos x="212" y="128"/>
              </a:cxn>
              <a:cxn ang="0">
                <a:pos x="215" y="135"/>
              </a:cxn>
              <a:cxn ang="0">
                <a:pos x="220" y="142"/>
              </a:cxn>
              <a:cxn ang="0">
                <a:pos x="223" y="151"/>
              </a:cxn>
              <a:cxn ang="0">
                <a:pos x="226" y="160"/>
              </a:cxn>
              <a:cxn ang="0">
                <a:pos x="230" y="170"/>
              </a:cxn>
              <a:cxn ang="0">
                <a:pos x="232" y="180"/>
              </a:cxn>
              <a:cxn ang="0">
                <a:pos x="233" y="191"/>
              </a:cxn>
              <a:cxn ang="0">
                <a:pos x="233" y="204"/>
              </a:cxn>
              <a:cxn ang="0">
                <a:pos x="232" y="216"/>
              </a:cxn>
              <a:cxn ang="0">
                <a:pos x="230" y="228"/>
              </a:cxn>
              <a:cxn ang="0">
                <a:pos x="227" y="240"/>
              </a:cxn>
              <a:cxn ang="0">
                <a:pos x="226" y="252"/>
              </a:cxn>
              <a:cxn ang="0">
                <a:pos x="222" y="252"/>
              </a:cxn>
              <a:cxn ang="0">
                <a:pos x="215" y="250"/>
              </a:cxn>
              <a:cxn ang="0">
                <a:pos x="208" y="246"/>
              </a:cxn>
              <a:cxn ang="0">
                <a:pos x="198" y="241"/>
              </a:cxn>
              <a:cxn ang="0">
                <a:pos x="176" y="226"/>
              </a:cxn>
              <a:cxn ang="0">
                <a:pos x="151" y="208"/>
              </a:cxn>
              <a:cxn ang="0">
                <a:pos x="125" y="186"/>
              </a:cxn>
              <a:cxn ang="0">
                <a:pos x="100" y="165"/>
              </a:cxn>
              <a:cxn ang="0">
                <a:pos x="78" y="145"/>
              </a:cxn>
              <a:cxn ang="0">
                <a:pos x="61" y="129"/>
              </a:cxn>
              <a:cxn ang="0">
                <a:pos x="55" y="125"/>
              </a:cxn>
              <a:cxn ang="0">
                <a:pos x="48" y="120"/>
              </a:cxn>
              <a:cxn ang="0">
                <a:pos x="41" y="116"/>
              </a:cxn>
              <a:cxn ang="0">
                <a:pos x="33" y="112"/>
              </a:cxn>
              <a:cxn ang="0">
                <a:pos x="17" y="104"/>
              </a:cxn>
              <a:cxn ang="0">
                <a:pos x="0" y="99"/>
              </a:cxn>
              <a:cxn ang="0">
                <a:pos x="40" y="63"/>
              </a:cxn>
              <a:cxn ang="0">
                <a:pos x="59" y="43"/>
              </a:cxn>
              <a:cxn ang="0">
                <a:pos x="65" y="33"/>
              </a:cxn>
              <a:cxn ang="0">
                <a:pos x="69" y="25"/>
              </a:cxn>
              <a:cxn ang="0">
                <a:pos x="72" y="14"/>
              </a:cxn>
              <a:cxn ang="0">
                <a:pos x="74" y="0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/>
            <a:ahLst/>
            <a:cxnLst>
              <a:cxn ang="0">
                <a:pos x="13" y="376"/>
              </a:cxn>
              <a:cxn ang="0">
                <a:pos x="14" y="367"/>
              </a:cxn>
              <a:cxn ang="0">
                <a:pos x="15" y="359"/>
              </a:cxn>
              <a:cxn ang="0">
                <a:pos x="18" y="351"/>
              </a:cxn>
              <a:cxn ang="0">
                <a:pos x="20" y="344"/>
              </a:cxn>
              <a:cxn ang="0">
                <a:pos x="25" y="333"/>
              </a:cxn>
              <a:cxn ang="0">
                <a:pos x="26" y="327"/>
              </a:cxn>
              <a:cxn ang="0">
                <a:pos x="25" y="321"/>
              </a:cxn>
              <a:cxn ang="0">
                <a:pos x="23" y="314"/>
              </a:cxn>
              <a:cxn ang="0">
                <a:pos x="19" y="305"/>
              </a:cxn>
              <a:cxn ang="0">
                <a:pos x="13" y="295"/>
              </a:cxn>
              <a:cxn ang="0">
                <a:pos x="9" y="285"/>
              </a:cxn>
              <a:cxn ang="0">
                <a:pos x="4" y="275"/>
              </a:cxn>
              <a:cxn ang="0">
                <a:pos x="1" y="267"/>
              </a:cxn>
              <a:cxn ang="0">
                <a:pos x="0" y="259"/>
              </a:cxn>
              <a:cxn ang="0">
                <a:pos x="1" y="251"/>
              </a:cxn>
              <a:cxn ang="0">
                <a:pos x="2" y="243"/>
              </a:cxn>
              <a:cxn ang="0">
                <a:pos x="3" y="236"/>
              </a:cxn>
              <a:cxn ang="0">
                <a:pos x="6" y="230"/>
              </a:cxn>
              <a:cxn ang="0">
                <a:pos x="11" y="218"/>
              </a:cxn>
              <a:cxn ang="0">
                <a:pos x="19" y="207"/>
              </a:cxn>
              <a:cxn ang="0">
                <a:pos x="26" y="197"/>
              </a:cxn>
              <a:cxn ang="0">
                <a:pos x="34" y="185"/>
              </a:cxn>
              <a:cxn ang="0">
                <a:pos x="41" y="173"/>
              </a:cxn>
              <a:cxn ang="0">
                <a:pos x="47" y="160"/>
              </a:cxn>
              <a:cxn ang="0">
                <a:pos x="26" y="73"/>
              </a:cxn>
              <a:cxn ang="0">
                <a:pos x="26" y="50"/>
              </a:cxn>
              <a:cxn ang="0">
                <a:pos x="24" y="33"/>
              </a:cxn>
              <a:cxn ang="0">
                <a:pos x="24" y="25"/>
              </a:cxn>
              <a:cxn ang="0">
                <a:pos x="24" y="16"/>
              </a:cxn>
              <a:cxn ang="0">
                <a:pos x="25" y="8"/>
              </a:cxn>
              <a:cxn ang="0">
                <a:pos x="26" y="0"/>
              </a:cxn>
              <a:cxn ang="0">
                <a:pos x="180" y="0"/>
              </a:cxn>
              <a:cxn ang="0">
                <a:pos x="220" y="129"/>
              </a:cxn>
              <a:cxn ang="0">
                <a:pos x="220" y="210"/>
              </a:cxn>
              <a:cxn ang="0">
                <a:pos x="220" y="220"/>
              </a:cxn>
              <a:cxn ang="0">
                <a:pos x="221" y="230"/>
              </a:cxn>
              <a:cxn ang="0">
                <a:pos x="223" y="240"/>
              </a:cxn>
              <a:cxn ang="0">
                <a:pos x="225" y="250"/>
              </a:cxn>
              <a:cxn ang="0">
                <a:pos x="228" y="259"/>
              </a:cxn>
              <a:cxn ang="0">
                <a:pos x="234" y="268"/>
              </a:cxn>
              <a:cxn ang="0">
                <a:pos x="239" y="278"/>
              </a:cxn>
              <a:cxn ang="0">
                <a:pos x="246" y="289"/>
              </a:cxn>
              <a:cxn ang="0">
                <a:pos x="224" y="295"/>
              </a:cxn>
              <a:cxn ang="0">
                <a:pos x="202" y="302"/>
              </a:cxn>
              <a:cxn ang="0">
                <a:pos x="181" y="310"/>
              </a:cxn>
              <a:cxn ang="0">
                <a:pos x="160" y="319"/>
              </a:cxn>
              <a:cxn ang="0">
                <a:pos x="141" y="328"/>
              </a:cxn>
              <a:cxn ang="0">
                <a:pos x="120" y="338"/>
              </a:cxn>
              <a:cxn ang="0">
                <a:pos x="100" y="347"/>
              </a:cxn>
              <a:cxn ang="0">
                <a:pos x="80" y="358"/>
              </a:cxn>
              <a:cxn ang="0">
                <a:pos x="75" y="363"/>
              </a:cxn>
              <a:cxn ang="0">
                <a:pos x="69" y="367"/>
              </a:cxn>
              <a:cxn ang="0">
                <a:pos x="62" y="372"/>
              </a:cxn>
              <a:cxn ang="0">
                <a:pos x="54" y="376"/>
              </a:cxn>
              <a:cxn ang="0">
                <a:pos x="46" y="379"/>
              </a:cxn>
              <a:cxn ang="0">
                <a:pos x="36" y="380"/>
              </a:cxn>
              <a:cxn ang="0">
                <a:pos x="31" y="380"/>
              </a:cxn>
              <a:cxn ang="0">
                <a:pos x="25" y="379"/>
              </a:cxn>
              <a:cxn ang="0">
                <a:pos x="20" y="378"/>
              </a:cxn>
              <a:cxn ang="0">
                <a:pos x="13" y="376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/>
            <a:ahLst/>
            <a:cxnLst>
              <a:cxn ang="0">
                <a:pos x="7" y="20"/>
              </a:cxn>
              <a:cxn ang="0">
                <a:pos x="38" y="11"/>
              </a:cxn>
              <a:cxn ang="0">
                <a:pos x="67" y="5"/>
              </a:cxn>
              <a:cxn ang="0">
                <a:pos x="80" y="3"/>
              </a:cxn>
              <a:cxn ang="0">
                <a:pos x="94" y="2"/>
              </a:cxn>
              <a:cxn ang="0">
                <a:pos x="110" y="1"/>
              </a:cxn>
              <a:cxn ang="0">
                <a:pos x="126" y="0"/>
              </a:cxn>
              <a:cxn ang="0">
                <a:pos x="138" y="1"/>
              </a:cxn>
              <a:cxn ang="0">
                <a:pos x="149" y="1"/>
              </a:cxn>
              <a:cxn ang="0">
                <a:pos x="160" y="2"/>
              </a:cxn>
              <a:cxn ang="0">
                <a:pos x="169" y="4"/>
              </a:cxn>
              <a:cxn ang="0">
                <a:pos x="178" y="6"/>
              </a:cxn>
              <a:cxn ang="0">
                <a:pos x="184" y="11"/>
              </a:cxn>
              <a:cxn ang="0">
                <a:pos x="187" y="13"/>
              </a:cxn>
              <a:cxn ang="0">
                <a:pos x="189" y="18"/>
              </a:cxn>
              <a:cxn ang="0">
                <a:pos x="191" y="21"/>
              </a:cxn>
              <a:cxn ang="0">
                <a:pos x="193" y="26"/>
              </a:cxn>
              <a:cxn ang="0">
                <a:pos x="183" y="27"/>
              </a:cxn>
              <a:cxn ang="0">
                <a:pos x="173" y="28"/>
              </a:cxn>
              <a:cxn ang="0">
                <a:pos x="165" y="28"/>
              </a:cxn>
              <a:cxn ang="0">
                <a:pos x="156" y="28"/>
              </a:cxn>
              <a:cxn ang="0">
                <a:pos x="138" y="27"/>
              </a:cxn>
              <a:cxn ang="0">
                <a:pos x="120" y="26"/>
              </a:cxn>
              <a:cxn ang="0">
                <a:pos x="103" y="26"/>
              </a:cxn>
              <a:cxn ang="0">
                <a:pos x="89" y="28"/>
              </a:cxn>
              <a:cxn ang="0">
                <a:pos x="76" y="30"/>
              </a:cxn>
              <a:cxn ang="0">
                <a:pos x="63" y="32"/>
              </a:cxn>
              <a:cxn ang="0">
                <a:pos x="49" y="34"/>
              </a:cxn>
              <a:cxn ang="0">
                <a:pos x="35" y="36"/>
              </a:cxn>
              <a:cxn ang="0">
                <a:pos x="19" y="37"/>
              </a:cxn>
              <a:cxn ang="0">
                <a:pos x="0" y="38"/>
              </a:cxn>
              <a:cxn ang="0">
                <a:pos x="0" y="33"/>
              </a:cxn>
              <a:cxn ang="0">
                <a:pos x="1" y="29"/>
              </a:cxn>
              <a:cxn ang="0">
                <a:pos x="3" y="24"/>
              </a:cxn>
              <a:cxn ang="0">
                <a:pos x="7" y="20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/>
            <a:ahLst/>
            <a:cxnLst>
              <a:cxn ang="0">
                <a:pos x="53" y="12"/>
              </a:cxn>
              <a:cxn ang="0">
                <a:pos x="59" y="12"/>
              </a:cxn>
              <a:cxn ang="0">
                <a:pos x="59" y="19"/>
              </a:cxn>
              <a:cxn ang="0">
                <a:pos x="62" y="26"/>
              </a:cxn>
              <a:cxn ang="0">
                <a:pos x="63" y="33"/>
              </a:cxn>
              <a:cxn ang="0">
                <a:pos x="66" y="42"/>
              </a:cxn>
              <a:cxn ang="0">
                <a:pos x="72" y="58"/>
              </a:cxn>
              <a:cxn ang="0">
                <a:pos x="79" y="75"/>
              </a:cxn>
              <a:cxn ang="0">
                <a:pos x="87" y="93"/>
              </a:cxn>
              <a:cxn ang="0">
                <a:pos x="93" y="111"/>
              </a:cxn>
              <a:cxn ang="0">
                <a:pos x="96" y="120"/>
              </a:cxn>
              <a:cxn ang="0">
                <a:pos x="98" y="129"/>
              </a:cxn>
              <a:cxn ang="0">
                <a:pos x="99" y="138"/>
              </a:cxn>
              <a:cxn ang="0">
                <a:pos x="99" y="148"/>
              </a:cxn>
              <a:cxn ang="0">
                <a:pos x="99" y="289"/>
              </a:cxn>
              <a:cxn ang="0">
                <a:pos x="89" y="290"/>
              </a:cxn>
              <a:cxn ang="0">
                <a:pos x="80" y="293"/>
              </a:cxn>
              <a:cxn ang="0">
                <a:pos x="73" y="297"/>
              </a:cxn>
              <a:cxn ang="0">
                <a:pos x="66" y="301"/>
              </a:cxn>
              <a:cxn ang="0">
                <a:pos x="59" y="290"/>
              </a:cxn>
              <a:cxn ang="0">
                <a:pos x="54" y="280"/>
              </a:cxn>
              <a:cxn ang="0">
                <a:pos x="48" y="271"/>
              </a:cxn>
              <a:cxn ang="0">
                <a:pos x="45" y="262"/>
              </a:cxn>
              <a:cxn ang="0">
                <a:pos x="43" y="252"/>
              </a:cxn>
              <a:cxn ang="0">
                <a:pos x="41" y="242"/>
              </a:cxn>
              <a:cxn ang="0">
                <a:pos x="40" y="232"/>
              </a:cxn>
              <a:cxn ang="0">
                <a:pos x="40" y="222"/>
              </a:cxn>
              <a:cxn ang="0">
                <a:pos x="40" y="141"/>
              </a:cxn>
              <a:cxn ang="0">
                <a:pos x="0" y="6"/>
              </a:cxn>
              <a:cxn ang="0">
                <a:pos x="5" y="2"/>
              </a:cxn>
              <a:cxn ang="0">
                <a:pos x="10" y="0"/>
              </a:cxn>
              <a:cxn ang="0">
                <a:pos x="14" y="0"/>
              </a:cxn>
              <a:cxn ang="0">
                <a:pos x="20" y="0"/>
              </a:cxn>
              <a:cxn ang="0">
                <a:pos x="26" y="0"/>
              </a:cxn>
              <a:cxn ang="0">
                <a:pos x="32" y="2"/>
              </a:cxn>
              <a:cxn ang="0">
                <a:pos x="37" y="4"/>
              </a:cxn>
              <a:cxn ang="0">
                <a:pos x="41" y="6"/>
              </a:cxn>
              <a:cxn ang="0">
                <a:pos x="47" y="10"/>
              </a:cxn>
              <a:cxn ang="0">
                <a:pos x="53" y="12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9" y="72"/>
              </a:cxn>
              <a:cxn ang="0">
                <a:pos x="17" y="65"/>
              </a:cxn>
              <a:cxn ang="0">
                <a:pos x="25" y="60"/>
              </a:cxn>
              <a:cxn ang="0">
                <a:pos x="33" y="56"/>
              </a:cxn>
              <a:cxn ang="0">
                <a:pos x="40" y="50"/>
              </a:cxn>
              <a:cxn ang="0">
                <a:pos x="67" y="50"/>
              </a:cxn>
              <a:cxn ang="0">
                <a:pos x="94" y="0"/>
              </a:cxn>
              <a:cxn ang="0">
                <a:pos x="101" y="3"/>
              </a:cxn>
              <a:cxn ang="0">
                <a:pos x="108" y="7"/>
              </a:cxn>
              <a:cxn ang="0">
                <a:pos x="116" y="12"/>
              </a:cxn>
              <a:cxn ang="0">
                <a:pos x="123" y="18"/>
              </a:cxn>
              <a:cxn ang="0">
                <a:pos x="131" y="22"/>
              </a:cxn>
              <a:cxn ang="0">
                <a:pos x="139" y="27"/>
              </a:cxn>
              <a:cxn ang="0">
                <a:pos x="145" y="29"/>
              </a:cxn>
              <a:cxn ang="0">
                <a:pos x="153" y="30"/>
              </a:cxn>
              <a:cxn ang="0">
                <a:pos x="163" y="39"/>
              </a:cxn>
              <a:cxn ang="0">
                <a:pos x="173" y="50"/>
              </a:cxn>
              <a:cxn ang="0">
                <a:pos x="173" y="61"/>
              </a:cxn>
              <a:cxn ang="0">
                <a:pos x="173" y="69"/>
              </a:cxn>
              <a:cxn ang="0">
                <a:pos x="173" y="80"/>
              </a:cxn>
              <a:cxn ang="0">
                <a:pos x="173" y="98"/>
              </a:cxn>
              <a:cxn ang="0">
                <a:pos x="173" y="109"/>
              </a:cxn>
              <a:cxn ang="0">
                <a:pos x="171" y="118"/>
              </a:cxn>
              <a:cxn ang="0">
                <a:pos x="167" y="127"/>
              </a:cxn>
              <a:cxn ang="0">
                <a:pos x="163" y="135"/>
              </a:cxn>
              <a:cxn ang="0">
                <a:pos x="152" y="151"/>
              </a:cxn>
              <a:cxn ang="0">
                <a:pos x="140" y="167"/>
              </a:cxn>
              <a:cxn ang="0">
                <a:pos x="128" y="183"/>
              </a:cxn>
              <a:cxn ang="0">
                <a:pos x="117" y="200"/>
              </a:cxn>
              <a:cxn ang="0">
                <a:pos x="112" y="209"/>
              </a:cxn>
              <a:cxn ang="0">
                <a:pos x="109" y="219"/>
              </a:cxn>
              <a:cxn ang="0">
                <a:pos x="108" y="229"/>
              </a:cxn>
              <a:cxn ang="0">
                <a:pos x="107" y="240"/>
              </a:cxn>
              <a:cxn ang="0">
                <a:pos x="108" y="273"/>
              </a:cxn>
              <a:cxn ang="0">
                <a:pos x="109" y="293"/>
              </a:cxn>
              <a:cxn ang="0">
                <a:pos x="110" y="302"/>
              </a:cxn>
              <a:cxn ang="0">
                <a:pos x="109" y="313"/>
              </a:cxn>
              <a:cxn ang="0">
                <a:pos x="109" y="327"/>
              </a:cxn>
              <a:cxn ang="0">
                <a:pos x="107" y="345"/>
              </a:cxn>
              <a:cxn ang="0">
                <a:pos x="97" y="346"/>
              </a:cxn>
              <a:cxn ang="0">
                <a:pos x="88" y="347"/>
              </a:cxn>
              <a:cxn ang="0">
                <a:pos x="79" y="349"/>
              </a:cxn>
              <a:cxn ang="0">
                <a:pos x="71" y="351"/>
              </a:cxn>
              <a:cxn ang="0">
                <a:pos x="63" y="353"/>
              </a:cxn>
              <a:cxn ang="0">
                <a:pos x="55" y="355"/>
              </a:cxn>
              <a:cxn ang="0">
                <a:pos x="48" y="357"/>
              </a:cxn>
              <a:cxn ang="0">
                <a:pos x="40" y="357"/>
              </a:cxn>
              <a:cxn ang="0">
                <a:pos x="40" y="216"/>
              </a:cxn>
              <a:cxn ang="0">
                <a:pos x="40" y="206"/>
              </a:cxn>
              <a:cxn ang="0">
                <a:pos x="39" y="197"/>
              </a:cxn>
              <a:cxn ang="0">
                <a:pos x="37" y="188"/>
              </a:cxn>
              <a:cxn ang="0">
                <a:pos x="34" y="179"/>
              </a:cxn>
              <a:cxn ang="0">
                <a:pos x="28" y="161"/>
              </a:cxn>
              <a:cxn ang="0">
                <a:pos x="20" y="143"/>
              </a:cxn>
              <a:cxn ang="0">
                <a:pos x="13" y="126"/>
              </a:cxn>
              <a:cxn ang="0">
                <a:pos x="7" y="110"/>
              </a:cxn>
              <a:cxn ang="0">
                <a:pos x="4" y="101"/>
              </a:cxn>
              <a:cxn ang="0">
                <a:pos x="3" y="94"/>
              </a:cxn>
              <a:cxn ang="0">
                <a:pos x="0" y="87"/>
              </a:cxn>
              <a:cxn ang="0">
                <a:pos x="0" y="80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6" y="14"/>
              </a:cxn>
              <a:cxn ang="0">
                <a:pos x="2" y="26"/>
              </a:cxn>
              <a:cxn ang="0">
                <a:pos x="0" y="36"/>
              </a:cxn>
              <a:cxn ang="0">
                <a:pos x="0" y="43"/>
              </a:cxn>
              <a:cxn ang="0">
                <a:pos x="0" y="50"/>
              </a:cxn>
              <a:cxn ang="0">
                <a:pos x="2" y="56"/>
              </a:cxn>
              <a:cxn ang="0">
                <a:pos x="6" y="61"/>
              </a:cxn>
              <a:cxn ang="0">
                <a:pos x="10" y="68"/>
              </a:cxn>
              <a:cxn ang="0">
                <a:pos x="50" y="74"/>
              </a:cxn>
              <a:cxn ang="0">
                <a:pos x="50" y="51"/>
              </a:cxn>
              <a:cxn ang="0">
                <a:pos x="50" y="34"/>
              </a:cxn>
              <a:cxn ang="0">
                <a:pos x="50" y="19"/>
              </a:cxn>
              <a:cxn ang="0">
                <a:pos x="50" y="0"/>
              </a:cxn>
              <a:cxn ang="0">
                <a:pos x="38" y="0"/>
              </a:cxn>
              <a:cxn ang="0">
                <a:pos x="25" y="0"/>
              </a:cxn>
              <a:cxn ang="0">
                <a:pos x="14" y="0"/>
              </a:cxn>
              <a:cxn ang="0">
                <a:pos x="10" y="0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/>
            <a:ahLst/>
            <a:cxnLst>
              <a:cxn ang="0">
                <a:pos x="240" y="9"/>
              </a:cxn>
              <a:cxn ang="0">
                <a:pos x="240" y="28"/>
              </a:cxn>
              <a:cxn ang="0">
                <a:pos x="249" y="42"/>
              </a:cxn>
              <a:cxn ang="0">
                <a:pos x="245" y="55"/>
              </a:cxn>
              <a:cxn ang="0">
                <a:pos x="225" y="50"/>
              </a:cxn>
              <a:cxn ang="0">
                <a:pos x="210" y="51"/>
              </a:cxn>
              <a:cxn ang="0">
                <a:pos x="195" y="65"/>
              </a:cxn>
              <a:cxn ang="0">
                <a:pos x="193" y="78"/>
              </a:cxn>
              <a:cxn ang="0">
                <a:pos x="198" y="89"/>
              </a:cxn>
              <a:cxn ang="0">
                <a:pos x="215" y="110"/>
              </a:cxn>
              <a:cxn ang="0">
                <a:pos x="224" y="122"/>
              </a:cxn>
              <a:cxn ang="0">
                <a:pos x="225" y="133"/>
              </a:cxn>
              <a:cxn ang="0">
                <a:pos x="222" y="143"/>
              </a:cxn>
              <a:cxn ang="0">
                <a:pos x="207" y="154"/>
              </a:cxn>
              <a:cxn ang="0">
                <a:pos x="200" y="160"/>
              </a:cxn>
              <a:cxn ang="0">
                <a:pos x="181" y="166"/>
              </a:cxn>
              <a:cxn ang="0">
                <a:pos x="164" y="178"/>
              </a:cxn>
              <a:cxn ang="0">
                <a:pos x="160" y="191"/>
              </a:cxn>
              <a:cxn ang="0">
                <a:pos x="173" y="207"/>
              </a:cxn>
              <a:cxn ang="0">
                <a:pos x="189" y="215"/>
              </a:cxn>
              <a:cxn ang="0">
                <a:pos x="214" y="227"/>
              </a:cxn>
              <a:cxn ang="0">
                <a:pos x="245" y="259"/>
              </a:cxn>
              <a:cxn ang="0">
                <a:pos x="251" y="285"/>
              </a:cxn>
              <a:cxn ang="0">
                <a:pos x="220" y="291"/>
              </a:cxn>
              <a:cxn ang="0">
                <a:pos x="207" y="298"/>
              </a:cxn>
              <a:cxn ang="0">
                <a:pos x="198" y="312"/>
              </a:cxn>
              <a:cxn ang="0">
                <a:pos x="189" y="326"/>
              </a:cxn>
              <a:cxn ang="0">
                <a:pos x="170" y="321"/>
              </a:cxn>
              <a:cxn ang="0">
                <a:pos x="167" y="316"/>
              </a:cxn>
              <a:cxn ang="0">
                <a:pos x="154" y="310"/>
              </a:cxn>
              <a:cxn ang="0">
                <a:pos x="139" y="301"/>
              </a:cxn>
              <a:cxn ang="0">
                <a:pos x="126" y="295"/>
              </a:cxn>
              <a:cxn ang="0">
                <a:pos x="98" y="290"/>
              </a:cxn>
              <a:cxn ang="0">
                <a:pos x="63" y="277"/>
              </a:cxn>
              <a:cxn ang="0">
                <a:pos x="54" y="268"/>
              </a:cxn>
              <a:cxn ang="0">
                <a:pos x="55" y="256"/>
              </a:cxn>
              <a:cxn ang="0">
                <a:pos x="70" y="244"/>
              </a:cxn>
              <a:cxn ang="0">
                <a:pos x="59" y="221"/>
              </a:cxn>
              <a:cxn ang="0">
                <a:pos x="34" y="194"/>
              </a:cxn>
              <a:cxn ang="0">
                <a:pos x="13" y="182"/>
              </a:cxn>
              <a:cxn ang="0">
                <a:pos x="4" y="171"/>
              </a:cxn>
              <a:cxn ang="0">
                <a:pos x="19" y="152"/>
              </a:cxn>
              <a:cxn ang="0">
                <a:pos x="54" y="124"/>
              </a:cxn>
              <a:cxn ang="0">
                <a:pos x="73" y="105"/>
              </a:cxn>
              <a:cxn ang="0">
                <a:pos x="88" y="92"/>
              </a:cxn>
              <a:cxn ang="0">
                <a:pos x="110" y="88"/>
              </a:cxn>
              <a:cxn ang="0">
                <a:pos x="144" y="70"/>
              </a:cxn>
              <a:cxn ang="0">
                <a:pos x="168" y="46"/>
              </a:cxn>
              <a:cxn ang="0">
                <a:pos x="191" y="21"/>
              </a:cxn>
              <a:cxn ang="0">
                <a:pos x="220" y="4"/>
              </a:cxn>
              <a:cxn ang="0">
                <a:pos x="238" y="0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/>
            <a:ahLst/>
            <a:cxnLst>
              <a:cxn ang="0">
                <a:pos x="259" y="160"/>
              </a:cxn>
              <a:cxn ang="0">
                <a:pos x="252" y="173"/>
              </a:cxn>
              <a:cxn ang="0">
                <a:pos x="243" y="182"/>
              </a:cxn>
              <a:cxn ang="0">
                <a:pos x="233" y="186"/>
              </a:cxn>
              <a:cxn ang="0">
                <a:pos x="223" y="184"/>
              </a:cxn>
              <a:cxn ang="0">
                <a:pos x="214" y="178"/>
              </a:cxn>
              <a:cxn ang="0">
                <a:pos x="209" y="169"/>
              </a:cxn>
              <a:cxn ang="0">
                <a:pos x="206" y="160"/>
              </a:cxn>
              <a:cxn ang="0">
                <a:pos x="209" y="148"/>
              </a:cxn>
              <a:cxn ang="0">
                <a:pos x="213" y="136"/>
              </a:cxn>
              <a:cxn ang="0">
                <a:pos x="230" y="114"/>
              </a:cxn>
              <a:cxn ang="0">
                <a:pos x="246" y="93"/>
              </a:cxn>
              <a:cxn ang="0">
                <a:pos x="250" y="82"/>
              </a:cxn>
              <a:cxn ang="0">
                <a:pos x="253" y="69"/>
              </a:cxn>
              <a:cxn ang="0">
                <a:pos x="129" y="68"/>
              </a:cxn>
              <a:cxn ang="0">
                <a:pos x="119" y="59"/>
              </a:cxn>
              <a:cxn ang="0">
                <a:pos x="112" y="45"/>
              </a:cxn>
              <a:cxn ang="0">
                <a:pos x="108" y="28"/>
              </a:cxn>
              <a:cxn ang="0">
                <a:pos x="101" y="19"/>
              </a:cxn>
              <a:cxn ang="0">
                <a:pos x="90" y="17"/>
              </a:cxn>
              <a:cxn ang="0">
                <a:pos x="80" y="12"/>
              </a:cxn>
              <a:cxn ang="0">
                <a:pos x="75" y="4"/>
              </a:cxn>
              <a:cxn ang="0">
                <a:pos x="65" y="0"/>
              </a:cxn>
              <a:cxn ang="0">
                <a:pos x="49" y="0"/>
              </a:cxn>
              <a:cxn ang="0">
                <a:pos x="34" y="1"/>
              </a:cxn>
              <a:cxn ang="0">
                <a:pos x="22" y="5"/>
              </a:cxn>
              <a:cxn ang="0">
                <a:pos x="10" y="14"/>
              </a:cxn>
              <a:cxn ang="0">
                <a:pos x="1" y="25"/>
              </a:cxn>
              <a:cxn ang="0">
                <a:pos x="2" y="35"/>
              </a:cxn>
              <a:cxn ang="0">
                <a:pos x="15" y="46"/>
              </a:cxn>
              <a:cxn ang="0">
                <a:pos x="35" y="58"/>
              </a:cxn>
              <a:cxn ang="0">
                <a:pos x="54" y="67"/>
              </a:cxn>
              <a:cxn ang="0">
                <a:pos x="47" y="79"/>
              </a:cxn>
              <a:cxn ang="0">
                <a:pos x="25" y="97"/>
              </a:cxn>
              <a:cxn ang="0">
                <a:pos x="17" y="107"/>
              </a:cxn>
              <a:cxn ang="0">
                <a:pos x="14" y="114"/>
              </a:cxn>
              <a:cxn ang="0">
                <a:pos x="14" y="122"/>
              </a:cxn>
              <a:cxn ang="0">
                <a:pos x="18" y="129"/>
              </a:cxn>
              <a:cxn ang="0">
                <a:pos x="28" y="141"/>
              </a:cxn>
              <a:cxn ang="0">
                <a:pos x="47" y="156"/>
              </a:cxn>
              <a:cxn ang="0">
                <a:pos x="64" y="164"/>
              </a:cxn>
              <a:cxn ang="0">
                <a:pos x="75" y="166"/>
              </a:cxn>
              <a:cxn ang="0">
                <a:pos x="107" y="271"/>
              </a:cxn>
              <a:cxn ang="0">
                <a:pos x="108" y="263"/>
              </a:cxn>
              <a:cxn ang="0">
                <a:pos x="112" y="256"/>
              </a:cxn>
              <a:cxn ang="0">
                <a:pos x="127" y="246"/>
              </a:cxn>
              <a:cxn ang="0">
                <a:pos x="148" y="240"/>
              </a:cxn>
              <a:cxn ang="0">
                <a:pos x="174" y="235"/>
              </a:cxn>
              <a:cxn ang="0">
                <a:pos x="174" y="210"/>
              </a:cxn>
              <a:cxn ang="0">
                <a:pos x="183" y="212"/>
              </a:cxn>
              <a:cxn ang="0">
                <a:pos x="193" y="212"/>
              </a:cxn>
              <a:cxn ang="0">
                <a:pos x="213" y="210"/>
              </a:cxn>
              <a:cxn ang="0">
                <a:pos x="232" y="261"/>
              </a:cxn>
              <a:cxn ang="0">
                <a:pos x="259" y="321"/>
              </a:cxn>
              <a:cxn ang="0">
                <a:pos x="272" y="311"/>
              </a:cxn>
              <a:cxn ang="0">
                <a:pos x="282" y="302"/>
              </a:cxn>
              <a:cxn ang="0">
                <a:pos x="295" y="280"/>
              </a:cxn>
              <a:cxn ang="0">
                <a:pos x="306" y="23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/>
            <a:ahLst/>
            <a:cxnLst>
              <a:cxn ang="0">
                <a:pos x="94" y="12"/>
              </a:cxn>
              <a:cxn ang="0">
                <a:pos x="67" y="32"/>
              </a:cxn>
              <a:cxn ang="0">
                <a:pos x="40" y="49"/>
              </a:cxn>
              <a:cxn ang="0">
                <a:pos x="27" y="82"/>
              </a:cxn>
              <a:cxn ang="0">
                <a:pos x="8" y="118"/>
              </a:cxn>
              <a:cxn ang="0">
                <a:pos x="7" y="136"/>
              </a:cxn>
              <a:cxn ang="0">
                <a:pos x="30" y="153"/>
              </a:cxn>
              <a:cxn ang="0">
                <a:pos x="50" y="168"/>
              </a:cxn>
              <a:cxn ang="0">
                <a:pos x="62" y="172"/>
              </a:cxn>
              <a:cxn ang="0">
                <a:pos x="75" y="211"/>
              </a:cxn>
              <a:cxn ang="0">
                <a:pos x="84" y="272"/>
              </a:cxn>
              <a:cxn ang="0">
                <a:pos x="94" y="299"/>
              </a:cxn>
              <a:cxn ang="0">
                <a:pos x="104" y="302"/>
              </a:cxn>
              <a:cxn ang="0">
                <a:pos x="112" y="297"/>
              </a:cxn>
              <a:cxn ang="0">
                <a:pos x="128" y="268"/>
              </a:cxn>
              <a:cxn ang="0">
                <a:pos x="145" y="262"/>
              </a:cxn>
              <a:cxn ang="0">
                <a:pos x="160" y="272"/>
              </a:cxn>
              <a:cxn ang="0">
                <a:pos x="173" y="277"/>
              </a:cxn>
              <a:cxn ang="0">
                <a:pos x="183" y="274"/>
              </a:cxn>
              <a:cxn ang="0">
                <a:pos x="192" y="259"/>
              </a:cxn>
              <a:cxn ang="0">
                <a:pos x="203" y="244"/>
              </a:cxn>
              <a:cxn ang="0">
                <a:pos x="212" y="241"/>
              </a:cxn>
              <a:cxn ang="0">
                <a:pos x="241" y="247"/>
              </a:cxn>
              <a:cxn ang="0">
                <a:pos x="259" y="271"/>
              </a:cxn>
              <a:cxn ang="0">
                <a:pos x="308" y="336"/>
              </a:cxn>
              <a:cxn ang="0">
                <a:pos x="341" y="382"/>
              </a:cxn>
              <a:cxn ang="0">
                <a:pos x="358" y="419"/>
              </a:cxn>
              <a:cxn ang="0">
                <a:pos x="366" y="457"/>
              </a:cxn>
              <a:cxn ang="0">
                <a:pos x="359" y="470"/>
              </a:cxn>
              <a:cxn ang="0">
                <a:pos x="339" y="487"/>
              </a:cxn>
              <a:cxn ang="0">
                <a:pos x="363" y="496"/>
              </a:cxn>
              <a:cxn ang="0">
                <a:pos x="392" y="518"/>
              </a:cxn>
              <a:cxn ang="0">
                <a:pos x="401" y="499"/>
              </a:cxn>
              <a:cxn ang="0">
                <a:pos x="413" y="489"/>
              </a:cxn>
              <a:cxn ang="0">
                <a:pos x="444" y="483"/>
              </a:cxn>
              <a:cxn ang="0">
                <a:pos x="468" y="438"/>
              </a:cxn>
              <a:cxn ang="0">
                <a:pos x="449" y="387"/>
              </a:cxn>
              <a:cxn ang="0">
                <a:pos x="421" y="347"/>
              </a:cxn>
              <a:cxn ang="0">
                <a:pos x="345" y="277"/>
              </a:cxn>
              <a:cxn ang="0">
                <a:pos x="279" y="218"/>
              </a:cxn>
              <a:cxn ang="0">
                <a:pos x="224" y="162"/>
              </a:cxn>
              <a:cxn ang="0">
                <a:pos x="179" y="105"/>
              </a:cxn>
              <a:cxn ang="0">
                <a:pos x="127" y="40"/>
              </a:cxn>
              <a:cxn ang="0">
                <a:pos x="115" y="14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/>
            <a:ahLst/>
            <a:cxnLst>
              <a:cxn ang="0">
                <a:pos x="152" y="19"/>
              </a:cxn>
              <a:cxn ang="0">
                <a:pos x="179" y="30"/>
              </a:cxn>
              <a:cxn ang="0">
                <a:pos x="196" y="30"/>
              </a:cxn>
              <a:cxn ang="0">
                <a:pos x="202" y="18"/>
              </a:cxn>
              <a:cxn ang="0">
                <a:pos x="210" y="10"/>
              </a:cxn>
              <a:cxn ang="0">
                <a:pos x="219" y="6"/>
              </a:cxn>
              <a:cxn ang="0">
                <a:pos x="245" y="2"/>
              </a:cxn>
              <a:cxn ang="0">
                <a:pos x="293" y="80"/>
              </a:cxn>
              <a:cxn ang="0">
                <a:pos x="266" y="107"/>
              </a:cxn>
              <a:cxn ang="0">
                <a:pos x="237" y="141"/>
              </a:cxn>
              <a:cxn ang="0">
                <a:pos x="225" y="159"/>
              </a:cxn>
              <a:cxn ang="0">
                <a:pos x="215" y="178"/>
              </a:cxn>
              <a:cxn ang="0">
                <a:pos x="209" y="197"/>
              </a:cxn>
              <a:cxn ang="0">
                <a:pos x="206" y="216"/>
              </a:cxn>
              <a:cxn ang="0">
                <a:pos x="196" y="217"/>
              </a:cxn>
              <a:cxn ang="0">
                <a:pos x="186" y="220"/>
              </a:cxn>
              <a:cxn ang="0">
                <a:pos x="170" y="229"/>
              </a:cxn>
              <a:cxn ang="0">
                <a:pos x="154" y="239"/>
              </a:cxn>
              <a:cxn ang="0">
                <a:pos x="133" y="246"/>
              </a:cxn>
              <a:cxn ang="0">
                <a:pos x="102" y="240"/>
              </a:cxn>
              <a:cxn ang="0">
                <a:pos x="71" y="232"/>
              </a:cxn>
              <a:cxn ang="0">
                <a:pos x="59" y="226"/>
              </a:cxn>
              <a:cxn ang="0">
                <a:pos x="49" y="220"/>
              </a:cxn>
              <a:cxn ang="0">
                <a:pos x="43" y="212"/>
              </a:cxn>
              <a:cxn ang="0">
                <a:pos x="41" y="204"/>
              </a:cxn>
              <a:cxn ang="0">
                <a:pos x="47" y="178"/>
              </a:cxn>
              <a:cxn ang="0">
                <a:pos x="45" y="162"/>
              </a:cxn>
              <a:cxn ang="0">
                <a:pos x="40" y="147"/>
              </a:cxn>
              <a:cxn ang="0">
                <a:pos x="24" y="119"/>
              </a:cxn>
              <a:cxn ang="0">
                <a:pos x="8" y="91"/>
              </a:cxn>
              <a:cxn ang="0">
                <a:pos x="2" y="74"/>
              </a:cxn>
              <a:cxn ang="0">
                <a:pos x="0" y="55"/>
              </a:cxn>
              <a:cxn ang="0">
                <a:pos x="2" y="45"/>
              </a:cxn>
              <a:cxn ang="0">
                <a:pos x="8" y="36"/>
              </a:cxn>
              <a:cxn ang="0">
                <a:pos x="17" y="29"/>
              </a:cxn>
              <a:cxn ang="0">
                <a:pos x="26" y="22"/>
              </a:cxn>
              <a:cxn ang="0">
                <a:pos x="48" y="14"/>
              </a:cxn>
              <a:cxn ang="0">
                <a:pos x="67" y="12"/>
              </a:cxn>
              <a:cxn ang="0">
                <a:pos x="96" y="12"/>
              </a:cxn>
              <a:cxn ang="0">
                <a:pos x="133" y="12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/>
            <a:ahLst/>
            <a:cxnLst>
              <a:cxn ang="0">
                <a:pos x="18" y="41"/>
              </a:cxn>
              <a:cxn ang="0">
                <a:pos x="28" y="26"/>
              </a:cxn>
              <a:cxn ang="0">
                <a:pos x="38" y="16"/>
              </a:cxn>
              <a:cxn ang="0">
                <a:pos x="50" y="9"/>
              </a:cxn>
              <a:cxn ang="0">
                <a:pos x="73" y="1"/>
              </a:cxn>
              <a:cxn ang="0">
                <a:pos x="88" y="12"/>
              </a:cxn>
              <a:cxn ang="0">
                <a:pos x="108" y="34"/>
              </a:cxn>
              <a:cxn ang="0">
                <a:pos x="125" y="50"/>
              </a:cxn>
              <a:cxn ang="0">
                <a:pos x="139" y="58"/>
              </a:cxn>
              <a:cxn ang="0">
                <a:pos x="152" y="64"/>
              </a:cxn>
              <a:cxn ang="0">
                <a:pos x="166" y="67"/>
              </a:cxn>
              <a:cxn ang="0">
                <a:pos x="184" y="96"/>
              </a:cxn>
              <a:cxn ang="0">
                <a:pos x="195" y="137"/>
              </a:cxn>
              <a:cxn ang="0">
                <a:pos x="199" y="165"/>
              </a:cxn>
              <a:cxn ang="0">
                <a:pos x="200" y="185"/>
              </a:cxn>
              <a:cxn ang="0">
                <a:pos x="198" y="197"/>
              </a:cxn>
              <a:cxn ang="0">
                <a:pos x="195" y="207"/>
              </a:cxn>
              <a:cxn ang="0">
                <a:pos x="189" y="214"/>
              </a:cxn>
              <a:cxn ang="0">
                <a:pos x="179" y="220"/>
              </a:cxn>
              <a:cxn ang="0">
                <a:pos x="164" y="224"/>
              </a:cxn>
              <a:cxn ang="0">
                <a:pos x="140" y="224"/>
              </a:cxn>
              <a:cxn ang="0">
                <a:pos x="118" y="229"/>
              </a:cxn>
              <a:cxn ang="0">
                <a:pos x="111" y="235"/>
              </a:cxn>
              <a:cxn ang="0">
                <a:pos x="108" y="242"/>
              </a:cxn>
              <a:cxn ang="0">
                <a:pos x="98" y="245"/>
              </a:cxn>
              <a:cxn ang="0">
                <a:pos x="85" y="240"/>
              </a:cxn>
              <a:cxn ang="0">
                <a:pos x="77" y="230"/>
              </a:cxn>
              <a:cxn ang="0">
                <a:pos x="73" y="216"/>
              </a:cxn>
              <a:cxn ang="0">
                <a:pos x="72" y="192"/>
              </a:cxn>
              <a:cxn ang="0">
                <a:pos x="71" y="168"/>
              </a:cxn>
              <a:cxn ang="0">
                <a:pos x="69" y="154"/>
              </a:cxn>
              <a:cxn ang="0">
                <a:pos x="64" y="142"/>
              </a:cxn>
              <a:cxn ang="0">
                <a:pos x="56" y="134"/>
              </a:cxn>
              <a:cxn ang="0">
                <a:pos x="40" y="125"/>
              </a:cxn>
              <a:cxn ang="0">
                <a:pos x="18" y="115"/>
              </a:cxn>
              <a:cxn ang="0">
                <a:pos x="6" y="106"/>
              </a:cxn>
              <a:cxn ang="0">
                <a:pos x="1" y="98"/>
              </a:cxn>
              <a:cxn ang="0">
                <a:pos x="1" y="87"/>
              </a:cxn>
              <a:cxn ang="0">
                <a:pos x="5" y="78"/>
              </a:cxn>
              <a:cxn ang="0">
                <a:pos x="10" y="68"/>
              </a:cxn>
              <a:cxn ang="0">
                <a:pos x="13" y="56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/>
            <a:ahLst/>
            <a:cxnLst>
              <a:cxn ang="0">
                <a:pos x="91" y="21"/>
              </a:cxn>
              <a:cxn ang="0">
                <a:pos x="160" y="47"/>
              </a:cxn>
              <a:cxn ang="0">
                <a:pos x="202" y="70"/>
              </a:cxn>
              <a:cxn ang="0">
                <a:pos x="253" y="110"/>
              </a:cxn>
              <a:cxn ang="0">
                <a:pos x="300" y="136"/>
              </a:cxn>
              <a:cxn ang="0">
                <a:pos x="299" y="161"/>
              </a:cxn>
              <a:cxn ang="0">
                <a:pos x="347" y="205"/>
              </a:cxn>
              <a:cxn ang="0">
                <a:pos x="393" y="248"/>
              </a:cxn>
              <a:cxn ang="0">
                <a:pos x="379" y="250"/>
              </a:cxn>
              <a:cxn ang="0">
                <a:pos x="372" y="256"/>
              </a:cxn>
              <a:cxn ang="0">
                <a:pos x="372" y="278"/>
              </a:cxn>
              <a:cxn ang="0">
                <a:pos x="377" y="301"/>
              </a:cxn>
              <a:cxn ang="0">
                <a:pos x="389" y="325"/>
              </a:cxn>
              <a:cxn ang="0">
                <a:pos x="407" y="348"/>
              </a:cxn>
              <a:cxn ang="0">
                <a:pos x="428" y="366"/>
              </a:cxn>
              <a:cxn ang="0">
                <a:pos x="451" y="376"/>
              </a:cxn>
              <a:cxn ang="0">
                <a:pos x="461" y="390"/>
              </a:cxn>
              <a:cxn ang="0">
                <a:pos x="472" y="406"/>
              </a:cxn>
              <a:cxn ang="0">
                <a:pos x="489" y="417"/>
              </a:cxn>
              <a:cxn ang="0">
                <a:pos x="513" y="432"/>
              </a:cxn>
              <a:cxn ang="0">
                <a:pos x="518" y="444"/>
              </a:cxn>
              <a:cxn ang="0">
                <a:pos x="525" y="450"/>
              </a:cxn>
              <a:cxn ang="0">
                <a:pos x="538" y="456"/>
              </a:cxn>
              <a:cxn ang="0">
                <a:pos x="534" y="472"/>
              </a:cxn>
              <a:cxn ang="0">
                <a:pos x="519" y="484"/>
              </a:cxn>
              <a:cxn ang="0">
                <a:pos x="490" y="487"/>
              </a:cxn>
              <a:cxn ang="0">
                <a:pos x="448" y="480"/>
              </a:cxn>
              <a:cxn ang="0">
                <a:pos x="414" y="466"/>
              </a:cxn>
              <a:cxn ang="0">
                <a:pos x="386" y="446"/>
              </a:cxn>
              <a:cxn ang="0">
                <a:pos x="355" y="415"/>
              </a:cxn>
              <a:cxn ang="0">
                <a:pos x="312" y="365"/>
              </a:cxn>
              <a:cxn ang="0">
                <a:pos x="274" y="330"/>
              </a:cxn>
              <a:cxn ang="0">
                <a:pos x="246" y="316"/>
              </a:cxn>
              <a:cxn ang="0">
                <a:pos x="212" y="309"/>
              </a:cxn>
              <a:cxn ang="0">
                <a:pos x="180" y="310"/>
              </a:cxn>
              <a:cxn ang="0">
                <a:pos x="153" y="317"/>
              </a:cxn>
              <a:cxn ang="0">
                <a:pos x="113" y="345"/>
              </a:cxn>
              <a:cxn ang="0">
                <a:pos x="136" y="361"/>
              </a:cxn>
              <a:cxn ang="0">
                <a:pos x="140" y="370"/>
              </a:cxn>
              <a:cxn ang="0">
                <a:pos x="124" y="401"/>
              </a:cxn>
              <a:cxn ang="0">
                <a:pos x="113" y="414"/>
              </a:cxn>
              <a:cxn ang="0">
                <a:pos x="47" y="403"/>
              </a:cxn>
              <a:cxn ang="0">
                <a:pos x="20" y="259"/>
              </a:cxn>
              <a:cxn ang="0">
                <a:pos x="20" y="0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/>
            <a:ahLst/>
            <a:cxnLst>
              <a:cxn ang="0">
                <a:pos x="136" y="1"/>
              </a:cxn>
              <a:cxn ang="0">
                <a:pos x="157" y="8"/>
              </a:cxn>
              <a:cxn ang="0">
                <a:pos x="179" y="21"/>
              </a:cxn>
              <a:cxn ang="0">
                <a:pos x="199" y="37"/>
              </a:cxn>
              <a:cxn ang="0">
                <a:pos x="218" y="57"/>
              </a:cxn>
              <a:cxn ang="0">
                <a:pos x="234" y="76"/>
              </a:cxn>
              <a:cxn ang="0">
                <a:pos x="245" y="94"/>
              </a:cxn>
              <a:cxn ang="0">
                <a:pos x="252" y="111"/>
              </a:cxn>
              <a:cxn ang="0">
                <a:pos x="252" y="128"/>
              </a:cxn>
              <a:cxn ang="0">
                <a:pos x="243" y="151"/>
              </a:cxn>
              <a:cxn ang="0">
                <a:pos x="229" y="174"/>
              </a:cxn>
              <a:cxn ang="0">
                <a:pos x="209" y="195"/>
              </a:cxn>
              <a:cxn ang="0">
                <a:pos x="184" y="214"/>
              </a:cxn>
              <a:cxn ang="0">
                <a:pos x="157" y="229"/>
              </a:cxn>
              <a:cxn ang="0">
                <a:pos x="129" y="240"/>
              </a:cxn>
              <a:cxn ang="0">
                <a:pos x="100" y="245"/>
              </a:cxn>
              <a:cxn ang="0">
                <a:pos x="74" y="245"/>
              </a:cxn>
              <a:cxn ang="0">
                <a:pos x="53" y="240"/>
              </a:cxn>
              <a:cxn ang="0">
                <a:pos x="33" y="234"/>
              </a:cxn>
              <a:cxn ang="0">
                <a:pos x="11" y="229"/>
              </a:cxn>
              <a:cxn ang="0">
                <a:pos x="3" y="219"/>
              </a:cxn>
              <a:cxn ang="0">
                <a:pos x="10" y="205"/>
              </a:cxn>
              <a:cxn ang="0">
                <a:pos x="22" y="196"/>
              </a:cxn>
              <a:cxn ang="0">
                <a:pos x="37" y="191"/>
              </a:cxn>
              <a:cxn ang="0">
                <a:pos x="50" y="197"/>
              </a:cxn>
              <a:cxn ang="0">
                <a:pos x="60" y="207"/>
              </a:cxn>
              <a:cxn ang="0">
                <a:pos x="68" y="201"/>
              </a:cxn>
              <a:cxn ang="0">
                <a:pos x="75" y="190"/>
              </a:cxn>
              <a:cxn ang="0">
                <a:pos x="84" y="180"/>
              </a:cxn>
              <a:cxn ang="0">
                <a:pos x="91" y="181"/>
              </a:cxn>
              <a:cxn ang="0">
                <a:pos x="98" y="179"/>
              </a:cxn>
              <a:cxn ang="0">
                <a:pos x="106" y="178"/>
              </a:cxn>
              <a:cxn ang="0">
                <a:pos x="120" y="174"/>
              </a:cxn>
              <a:cxn ang="0">
                <a:pos x="149" y="164"/>
              </a:cxn>
              <a:cxn ang="0">
                <a:pos x="179" y="147"/>
              </a:cxn>
              <a:cxn ang="0">
                <a:pos x="197" y="135"/>
              </a:cxn>
              <a:cxn ang="0">
                <a:pos x="210" y="123"/>
              </a:cxn>
              <a:cxn ang="0">
                <a:pos x="218" y="111"/>
              </a:cxn>
              <a:cxn ang="0">
                <a:pos x="219" y="98"/>
              </a:cxn>
              <a:cxn ang="0">
                <a:pos x="214" y="88"/>
              </a:cxn>
              <a:cxn ang="0">
                <a:pos x="210" y="80"/>
              </a:cxn>
              <a:cxn ang="0">
                <a:pos x="207" y="72"/>
              </a:cxn>
              <a:cxn ang="0">
                <a:pos x="201" y="67"/>
              </a:cxn>
              <a:cxn ang="0">
                <a:pos x="191" y="65"/>
              </a:cxn>
              <a:cxn ang="0">
                <a:pos x="184" y="61"/>
              </a:cxn>
              <a:cxn ang="0">
                <a:pos x="180" y="54"/>
              </a:cxn>
              <a:cxn ang="0">
                <a:pos x="140" y="49"/>
              </a:cxn>
              <a:cxn ang="0">
                <a:pos x="136" y="44"/>
              </a:cxn>
              <a:cxn ang="0">
                <a:pos x="136" y="36"/>
              </a:cxn>
              <a:cxn ang="0">
                <a:pos x="140" y="18"/>
              </a:cxn>
              <a:cxn ang="0">
                <a:pos x="110" y="11"/>
              </a:cxn>
              <a:cxn ang="0">
                <a:pos x="97" y="12"/>
              </a:cxn>
              <a:cxn ang="0">
                <a:pos x="86" y="18"/>
              </a:cxn>
              <a:cxn ang="0">
                <a:pos x="104" y="5"/>
              </a:cxn>
              <a:cxn ang="0">
                <a:pos x="113" y="1"/>
              </a:cxn>
              <a:cxn ang="0">
                <a:pos x="127" y="0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/>
            <a:ahLst/>
            <a:cxnLst>
              <a:cxn ang="0">
                <a:pos x="41" y="228"/>
              </a:cxn>
              <a:cxn ang="0">
                <a:pos x="36" y="220"/>
              </a:cxn>
              <a:cxn ang="0">
                <a:pos x="29" y="208"/>
              </a:cxn>
              <a:cxn ang="0">
                <a:pos x="22" y="194"/>
              </a:cxn>
              <a:cxn ang="0">
                <a:pos x="16" y="178"/>
              </a:cxn>
              <a:cxn ang="0">
                <a:pos x="10" y="163"/>
              </a:cxn>
              <a:cxn ang="0">
                <a:pos x="5" y="148"/>
              </a:cxn>
              <a:cxn ang="0">
                <a:pos x="2" y="135"/>
              </a:cxn>
              <a:cxn ang="0">
                <a:pos x="0" y="123"/>
              </a:cxn>
              <a:cxn ang="0">
                <a:pos x="2" y="104"/>
              </a:cxn>
              <a:cxn ang="0">
                <a:pos x="4" y="87"/>
              </a:cxn>
              <a:cxn ang="0">
                <a:pos x="6" y="70"/>
              </a:cxn>
              <a:cxn ang="0">
                <a:pos x="9" y="55"/>
              </a:cxn>
              <a:cxn ang="0">
                <a:pos x="18" y="28"/>
              </a:cxn>
              <a:cxn ang="0">
                <a:pos x="28" y="0"/>
              </a:cxn>
              <a:cxn ang="0">
                <a:pos x="45" y="16"/>
              </a:cxn>
              <a:cxn ang="0">
                <a:pos x="62" y="28"/>
              </a:cxn>
              <a:cxn ang="0">
                <a:pos x="76" y="37"/>
              </a:cxn>
              <a:cxn ang="0">
                <a:pos x="89" y="48"/>
              </a:cxn>
              <a:cxn ang="0">
                <a:pos x="95" y="55"/>
              </a:cxn>
              <a:cxn ang="0">
                <a:pos x="101" y="63"/>
              </a:cxn>
              <a:cxn ang="0">
                <a:pos x="107" y="74"/>
              </a:cxn>
              <a:cxn ang="0">
                <a:pos x="114" y="86"/>
              </a:cxn>
              <a:cxn ang="0">
                <a:pos x="120" y="100"/>
              </a:cxn>
              <a:cxn ang="0">
                <a:pos x="127" y="117"/>
              </a:cxn>
              <a:cxn ang="0">
                <a:pos x="133" y="138"/>
              </a:cxn>
              <a:cxn ang="0">
                <a:pos x="141" y="161"/>
              </a:cxn>
              <a:cxn ang="0">
                <a:pos x="140" y="169"/>
              </a:cxn>
              <a:cxn ang="0">
                <a:pos x="138" y="177"/>
              </a:cxn>
              <a:cxn ang="0">
                <a:pos x="135" y="186"/>
              </a:cxn>
              <a:cxn ang="0">
                <a:pos x="131" y="192"/>
              </a:cxn>
              <a:cxn ang="0">
                <a:pos x="127" y="199"/>
              </a:cxn>
              <a:cxn ang="0">
                <a:pos x="121" y="204"/>
              </a:cxn>
              <a:cxn ang="0">
                <a:pos x="115" y="209"/>
              </a:cxn>
              <a:cxn ang="0">
                <a:pos x="108" y="213"/>
              </a:cxn>
              <a:cxn ang="0">
                <a:pos x="100" y="217"/>
              </a:cxn>
              <a:cxn ang="0">
                <a:pos x="93" y="220"/>
              </a:cxn>
              <a:cxn ang="0">
                <a:pos x="85" y="223"/>
              </a:cxn>
              <a:cxn ang="0">
                <a:pos x="76" y="225"/>
              </a:cxn>
              <a:cxn ang="0">
                <a:pos x="59" y="227"/>
              </a:cxn>
              <a:cxn ang="0">
                <a:pos x="41" y="228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34"/>
              </a:cxn>
              <a:cxn ang="0">
                <a:pos x="2" y="27"/>
              </a:cxn>
              <a:cxn ang="0">
                <a:pos x="5" y="21"/>
              </a:cxn>
              <a:cxn ang="0">
                <a:pos x="9" y="15"/>
              </a:cxn>
              <a:cxn ang="0">
                <a:pos x="14" y="9"/>
              </a:cxn>
              <a:cxn ang="0">
                <a:pos x="20" y="5"/>
              </a:cxn>
              <a:cxn ang="0">
                <a:pos x="26" y="2"/>
              </a:cxn>
              <a:cxn ang="0">
                <a:pos x="33" y="0"/>
              </a:cxn>
              <a:cxn ang="0">
                <a:pos x="33" y="25"/>
              </a:cxn>
              <a:cxn ang="0">
                <a:pos x="23" y="27"/>
              </a:cxn>
              <a:cxn ang="0">
                <a:pos x="18" y="29"/>
              </a:cxn>
              <a:cxn ang="0">
                <a:pos x="16" y="32"/>
              </a:cxn>
              <a:cxn ang="0">
                <a:pos x="16" y="34"/>
              </a:cxn>
              <a:cxn ang="0">
                <a:pos x="16" y="36"/>
              </a:cxn>
              <a:cxn ang="0">
                <a:pos x="14" y="38"/>
              </a:cxn>
              <a:cxn ang="0">
                <a:pos x="10" y="41"/>
              </a:cxn>
              <a:cxn ang="0">
                <a:pos x="0" y="43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1" y="51"/>
              </a:cxn>
              <a:cxn ang="0">
                <a:pos x="2" y="46"/>
              </a:cxn>
              <a:cxn ang="0">
                <a:pos x="3" y="42"/>
              </a:cxn>
              <a:cxn ang="0">
                <a:pos x="6" y="37"/>
              </a:cxn>
              <a:cxn ang="0">
                <a:pos x="11" y="29"/>
              </a:cxn>
              <a:cxn ang="0">
                <a:pos x="18" y="21"/>
              </a:cxn>
              <a:cxn ang="0">
                <a:pos x="31" y="7"/>
              </a:cxn>
              <a:cxn ang="0">
                <a:pos x="41" y="0"/>
              </a:cxn>
              <a:cxn ang="0">
                <a:pos x="54" y="12"/>
              </a:cxn>
              <a:cxn ang="0">
                <a:pos x="51" y="21"/>
              </a:cxn>
              <a:cxn ang="0">
                <a:pos x="47" y="29"/>
              </a:cxn>
              <a:cxn ang="0">
                <a:pos x="44" y="35"/>
              </a:cxn>
              <a:cxn ang="0">
                <a:pos x="41" y="41"/>
              </a:cxn>
              <a:cxn ang="0">
                <a:pos x="33" y="49"/>
              </a:cxn>
              <a:cxn ang="0">
                <a:pos x="28" y="55"/>
              </a:cxn>
              <a:cxn ang="0">
                <a:pos x="26" y="64"/>
              </a:cxn>
              <a:cxn ang="0">
                <a:pos x="26" y="74"/>
              </a:cxn>
              <a:cxn ang="0">
                <a:pos x="24" y="83"/>
              </a:cxn>
              <a:cxn ang="0">
                <a:pos x="20" y="92"/>
              </a:cxn>
              <a:cxn ang="0">
                <a:pos x="14" y="83"/>
              </a:cxn>
              <a:cxn ang="0">
                <a:pos x="8" y="74"/>
              </a:cxn>
              <a:cxn ang="0">
                <a:pos x="5" y="70"/>
              </a:cxn>
              <a:cxn ang="0">
                <a:pos x="2" y="64"/>
              </a:cxn>
              <a:cxn ang="0">
                <a:pos x="1" y="60"/>
              </a:cxn>
              <a:cxn ang="0">
                <a:pos x="0" y="55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4"/>
              </a:cxn>
              <a:cxn ang="0">
                <a:pos x="37" y="9"/>
              </a:cxn>
              <a:cxn ang="0">
                <a:pos x="45" y="11"/>
              </a:cxn>
              <a:cxn ang="0">
                <a:pos x="51" y="13"/>
              </a:cxn>
              <a:cxn ang="0">
                <a:pos x="56" y="16"/>
              </a:cxn>
              <a:cxn ang="0">
                <a:pos x="60" y="18"/>
              </a:cxn>
              <a:cxn ang="0">
                <a:pos x="38" y="18"/>
              </a:cxn>
              <a:cxn ang="0">
                <a:pos x="23" y="18"/>
              </a:cxn>
              <a:cxn ang="0">
                <a:pos x="10" y="18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66" y="18"/>
              </a:cxn>
              <a:cxn ang="0">
                <a:pos x="52" y="13"/>
              </a:cxn>
              <a:cxn ang="0">
                <a:pos x="40" y="7"/>
              </a:cxn>
              <a:cxn ang="0">
                <a:pos x="35" y="4"/>
              </a:cxn>
              <a:cxn ang="0">
                <a:pos x="29" y="2"/>
              </a:cxn>
              <a:cxn ang="0">
                <a:pos x="25" y="1"/>
              </a:cxn>
              <a:cxn ang="0">
                <a:pos x="19" y="0"/>
              </a:cxn>
              <a:cxn ang="0">
                <a:pos x="0" y="18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3" y="42"/>
              </a:cxn>
              <a:cxn ang="0">
                <a:pos x="14" y="33"/>
              </a:cxn>
              <a:cxn ang="0">
                <a:pos x="16" y="23"/>
              </a:cxn>
              <a:cxn ang="0">
                <a:pos x="17" y="18"/>
              </a:cxn>
              <a:cxn ang="0">
                <a:pos x="16" y="12"/>
              </a:cxn>
              <a:cxn ang="0">
                <a:pos x="16" y="6"/>
              </a:cxn>
              <a:cxn ang="0">
                <a:pos x="13" y="0"/>
              </a:cxn>
              <a:cxn ang="0">
                <a:pos x="0" y="36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/>
            <a:ahLst/>
            <a:cxnLst>
              <a:cxn ang="0">
                <a:pos x="6" y="29"/>
              </a:cxn>
              <a:cxn ang="0">
                <a:pos x="15" y="26"/>
              </a:cxn>
              <a:cxn ang="0">
                <a:pos x="24" y="24"/>
              </a:cxn>
              <a:cxn ang="0">
                <a:pos x="32" y="24"/>
              </a:cxn>
              <a:cxn ang="0">
                <a:pos x="39" y="24"/>
              </a:cxn>
              <a:cxn ang="0">
                <a:pos x="55" y="27"/>
              </a:cxn>
              <a:cxn ang="0">
                <a:pos x="72" y="29"/>
              </a:cxn>
              <a:cxn ang="0">
                <a:pos x="72" y="4"/>
              </a:cxn>
              <a:cxn ang="0">
                <a:pos x="58" y="1"/>
              </a:cxn>
              <a:cxn ang="0">
                <a:pos x="47" y="0"/>
              </a:cxn>
              <a:cxn ang="0">
                <a:pos x="39" y="0"/>
              </a:cxn>
              <a:cxn ang="0">
                <a:pos x="34" y="2"/>
              </a:cxn>
              <a:cxn ang="0">
                <a:pos x="27" y="3"/>
              </a:cxn>
              <a:cxn ang="0">
                <a:pos x="21" y="5"/>
              </a:cxn>
              <a:cxn ang="0">
                <a:pos x="12" y="5"/>
              </a:cxn>
              <a:cxn ang="0">
                <a:pos x="0" y="4"/>
              </a:cxn>
              <a:cxn ang="0">
                <a:pos x="3" y="16"/>
              </a:cxn>
              <a:cxn ang="0">
                <a:pos x="6" y="29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9"/>
              </a:cxn>
              <a:cxn ang="0">
                <a:pos x="20" y="15"/>
              </a:cxn>
              <a:cxn ang="0">
                <a:pos x="31" y="20"/>
              </a:cxn>
              <a:cxn ang="0">
                <a:pos x="46" y="25"/>
              </a:cxn>
              <a:cxn ang="0">
                <a:pos x="37" y="29"/>
              </a:cxn>
              <a:cxn ang="0">
                <a:pos x="29" y="33"/>
              </a:cxn>
              <a:cxn ang="0">
                <a:pos x="21" y="36"/>
              </a:cxn>
              <a:cxn ang="0">
                <a:pos x="13" y="37"/>
              </a:cxn>
              <a:cxn ang="0">
                <a:pos x="9" y="36"/>
              </a:cxn>
              <a:cxn ang="0">
                <a:pos x="7" y="33"/>
              </a:cxn>
              <a:cxn ang="0">
                <a:pos x="5" y="29"/>
              </a:cxn>
              <a:cxn ang="0">
                <a:pos x="3" y="23"/>
              </a:cxn>
              <a:cxn ang="0">
                <a:pos x="1" y="12"/>
              </a:cxn>
              <a:cxn ang="0">
                <a:pos x="0" y="0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6" y="19"/>
              </a:cxn>
              <a:cxn ang="0">
                <a:pos x="26" y="9"/>
              </a:cxn>
              <a:cxn ang="0">
                <a:pos x="26" y="0"/>
              </a:cxn>
              <a:cxn ang="0">
                <a:pos x="15" y="0"/>
              </a:cxn>
              <a:cxn ang="0">
                <a:pos x="0" y="0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2"/>
              </a:cxn>
              <a:cxn ang="0">
                <a:pos x="0" y="23"/>
              </a:cxn>
              <a:cxn ang="0">
                <a:pos x="0" y="26"/>
              </a:cxn>
              <a:cxn ang="0">
                <a:pos x="0" y="29"/>
              </a:cxn>
              <a:cxn ang="0">
                <a:pos x="0" y="31"/>
              </a:cxn>
              <a:cxn ang="0">
                <a:pos x="2" y="31"/>
              </a:cxn>
              <a:cxn ang="0">
                <a:pos x="13" y="22"/>
              </a:cxn>
              <a:cxn ang="0">
                <a:pos x="25" y="13"/>
              </a:cxn>
              <a:cxn ang="0">
                <a:pos x="35" y="5"/>
              </a:cxn>
              <a:cxn ang="0">
                <a:pos x="43" y="0"/>
              </a:cxn>
              <a:cxn ang="0">
                <a:pos x="2" y="0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4" y="18"/>
              </a:cxn>
              <a:cxn ang="0">
                <a:pos x="5" y="25"/>
              </a:cxn>
              <a:cxn ang="0">
                <a:pos x="7" y="31"/>
              </a:cxn>
              <a:cxn ang="0">
                <a:pos x="9" y="37"/>
              </a:cxn>
              <a:cxn ang="0">
                <a:pos x="14" y="41"/>
              </a:cxn>
              <a:cxn ang="0">
                <a:pos x="18" y="46"/>
              </a:cxn>
              <a:cxn ang="0">
                <a:pos x="23" y="48"/>
              </a:cxn>
              <a:cxn ang="0">
                <a:pos x="30" y="49"/>
              </a:cxn>
              <a:cxn ang="0">
                <a:pos x="35" y="48"/>
              </a:cxn>
              <a:cxn ang="0">
                <a:pos x="40" y="46"/>
              </a:cxn>
              <a:cxn ang="0">
                <a:pos x="45" y="42"/>
              </a:cxn>
              <a:cxn ang="0">
                <a:pos x="50" y="37"/>
              </a:cxn>
              <a:cxn ang="0">
                <a:pos x="60" y="28"/>
              </a:cxn>
              <a:cxn ang="0">
                <a:pos x="71" y="18"/>
              </a:cxn>
              <a:cxn ang="0">
                <a:pos x="61" y="12"/>
              </a:cxn>
              <a:cxn ang="0">
                <a:pos x="52" y="9"/>
              </a:cxn>
              <a:cxn ang="0">
                <a:pos x="44" y="7"/>
              </a:cxn>
              <a:cxn ang="0">
                <a:pos x="37" y="6"/>
              </a:cxn>
              <a:cxn ang="0">
                <a:pos x="29" y="6"/>
              </a:cxn>
              <a:cxn ang="0">
                <a:pos x="21" y="5"/>
              </a:cxn>
              <a:cxn ang="0">
                <a:pos x="14" y="3"/>
              </a:cxn>
              <a:cxn ang="0">
                <a:pos x="4" y="0"/>
              </a:cxn>
              <a:cxn ang="0">
                <a:pos x="3" y="1"/>
              </a:cxn>
              <a:cxn ang="0">
                <a:pos x="1" y="6"/>
              </a:cxn>
              <a:cxn ang="0">
                <a:pos x="0" y="8"/>
              </a:cxn>
              <a:cxn ang="0">
                <a:pos x="0" y="10"/>
              </a:cxn>
              <a:cxn ang="0">
                <a:pos x="1" y="11"/>
              </a:cxn>
              <a:cxn ang="0">
                <a:pos x="4" y="12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/>
            <a:ahLst/>
            <a:cxnLst>
              <a:cxn ang="0">
                <a:pos x="46" y="2"/>
              </a:cxn>
              <a:cxn ang="0">
                <a:pos x="56" y="2"/>
              </a:cxn>
              <a:cxn ang="0">
                <a:pos x="66" y="3"/>
              </a:cxn>
              <a:cxn ang="0">
                <a:pos x="74" y="4"/>
              </a:cxn>
              <a:cxn ang="0">
                <a:pos x="84" y="6"/>
              </a:cxn>
              <a:cxn ang="0">
                <a:pos x="92" y="9"/>
              </a:cxn>
              <a:cxn ang="0">
                <a:pos x="100" y="12"/>
              </a:cxn>
              <a:cxn ang="0">
                <a:pos x="106" y="16"/>
              </a:cxn>
              <a:cxn ang="0">
                <a:pos x="112" y="20"/>
              </a:cxn>
              <a:cxn ang="0">
                <a:pos x="110" y="22"/>
              </a:cxn>
              <a:cxn ang="0">
                <a:pos x="105" y="23"/>
              </a:cxn>
              <a:cxn ang="0">
                <a:pos x="101" y="25"/>
              </a:cxn>
              <a:cxn ang="0">
                <a:pos x="95" y="25"/>
              </a:cxn>
              <a:cxn ang="0">
                <a:pos x="87" y="26"/>
              </a:cxn>
              <a:cxn ang="0">
                <a:pos x="79" y="26"/>
              </a:cxn>
              <a:cxn ang="0">
                <a:pos x="66" y="24"/>
              </a:cxn>
              <a:cxn ang="0">
                <a:pos x="41" y="19"/>
              </a:cxn>
              <a:cxn ang="0">
                <a:pos x="16" y="13"/>
              </a:cxn>
              <a:cxn ang="0">
                <a:pos x="0" y="8"/>
              </a:cxn>
              <a:cxn ang="0">
                <a:pos x="5" y="4"/>
              </a:cxn>
              <a:cxn ang="0">
                <a:pos x="11" y="2"/>
              </a:cxn>
              <a:cxn ang="0">
                <a:pos x="18" y="1"/>
              </a:cxn>
              <a:cxn ang="0">
                <a:pos x="25" y="0"/>
              </a:cxn>
              <a:cxn ang="0">
                <a:pos x="37" y="1"/>
              </a:cxn>
              <a:cxn ang="0">
                <a:pos x="46" y="2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1" y="0"/>
              </a:cxn>
              <a:cxn ang="0">
                <a:pos x="28" y="8"/>
              </a:cxn>
              <a:cxn ang="0">
                <a:pos x="18" y="15"/>
              </a:cxn>
              <a:cxn ang="0">
                <a:pos x="9" y="20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3"/>
              </a:cxn>
              <a:cxn ang="0">
                <a:pos x="0" y="10"/>
              </a:cxn>
              <a:cxn ang="0">
                <a:pos x="2" y="8"/>
              </a:cxn>
              <a:cxn ang="0">
                <a:pos x="3" y="6"/>
              </a:cxn>
              <a:cxn ang="0">
                <a:pos x="4" y="4"/>
              </a:cxn>
              <a:cxn ang="0">
                <a:pos x="8" y="2"/>
              </a:cxn>
              <a:cxn ang="0">
                <a:pos x="14" y="0"/>
              </a:cxn>
              <a:cxn ang="0">
                <a:pos x="26" y="1"/>
              </a:cxn>
              <a:cxn ang="0">
                <a:pos x="41" y="1"/>
              </a:cxn>
              <a:cxn ang="0">
                <a:pos x="56" y="1"/>
              </a:cxn>
              <a:cxn ang="0">
                <a:pos x="65" y="1"/>
              </a:cxn>
              <a:cxn ang="0">
                <a:pos x="73" y="1"/>
              </a:cxn>
              <a:cxn ang="0">
                <a:pos x="81" y="1"/>
              </a:cxn>
              <a:cxn ang="0">
                <a:pos x="73" y="6"/>
              </a:cxn>
              <a:cxn ang="0">
                <a:pos x="67" y="10"/>
              </a:cxn>
              <a:cxn ang="0">
                <a:pos x="64" y="14"/>
              </a:cxn>
              <a:cxn ang="0">
                <a:pos x="62" y="18"/>
              </a:cxn>
              <a:cxn ang="0">
                <a:pos x="59" y="21"/>
              </a:cxn>
              <a:cxn ang="0">
                <a:pos x="54" y="23"/>
              </a:cxn>
              <a:cxn ang="0">
                <a:pos x="47" y="25"/>
              </a:cxn>
              <a:cxn ang="0">
                <a:pos x="34" y="25"/>
              </a:cxn>
              <a:cxn ang="0">
                <a:pos x="0" y="31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/>
            <a:ahLst/>
            <a:cxnLst>
              <a:cxn ang="0">
                <a:pos x="2" y="49"/>
              </a:cxn>
              <a:cxn ang="0">
                <a:pos x="89" y="49"/>
              </a:cxn>
              <a:cxn ang="0">
                <a:pos x="78" y="41"/>
              </a:cxn>
              <a:cxn ang="0">
                <a:pos x="68" y="35"/>
              </a:cxn>
              <a:cxn ang="0">
                <a:pos x="57" y="30"/>
              </a:cxn>
              <a:cxn ang="0">
                <a:pos x="46" y="25"/>
              </a:cxn>
              <a:cxn ang="0">
                <a:pos x="36" y="21"/>
              </a:cxn>
              <a:cxn ang="0">
                <a:pos x="26" y="14"/>
              </a:cxn>
              <a:cxn ang="0">
                <a:pos x="16" y="8"/>
              </a:cxn>
              <a:cxn ang="0">
                <a:pos x="9" y="0"/>
              </a:cxn>
              <a:cxn ang="0">
                <a:pos x="4" y="10"/>
              </a:cxn>
              <a:cxn ang="0">
                <a:pos x="1" y="23"/>
              </a:cxn>
              <a:cxn ang="0">
                <a:pos x="0" y="29"/>
              </a:cxn>
              <a:cxn ang="0">
                <a:pos x="0" y="36"/>
              </a:cxn>
              <a:cxn ang="0">
                <a:pos x="0" y="43"/>
              </a:cxn>
              <a:cxn ang="0">
                <a:pos x="2" y="49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/>
            <a:ahLst/>
            <a:cxnLst>
              <a:cxn ang="0">
                <a:pos x="0" y="21"/>
              </a:cxn>
              <a:cxn ang="0">
                <a:pos x="14" y="26"/>
              </a:cxn>
              <a:cxn ang="0">
                <a:pos x="25" y="29"/>
              </a:cxn>
              <a:cxn ang="0">
                <a:pos x="30" y="30"/>
              </a:cxn>
              <a:cxn ang="0">
                <a:pos x="36" y="30"/>
              </a:cxn>
              <a:cxn ang="0">
                <a:pos x="41" y="29"/>
              </a:cxn>
              <a:cxn ang="0">
                <a:pos x="46" y="27"/>
              </a:cxn>
              <a:cxn ang="0">
                <a:pos x="46" y="36"/>
              </a:cxn>
              <a:cxn ang="0">
                <a:pos x="46" y="46"/>
              </a:cxn>
              <a:cxn ang="0">
                <a:pos x="56" y="45"/>
              </a:cxn>
              <a:cxn ang="0">
                <a:pos x="67" y="43"/>
              </a:cxn>
              <a:cxn ang="0">
                <a:pos x="77" y="40"/>
              </a:cxn>
              <a:cxn ang="0">
                <a:pos x="86" y="40"/>
              </a:cxn>
              <a:cxn ang="0">
                <a:pos x="83" y="32"/>
              </a:cxn>
              <a:cxn ang="0">
                <a:pos x="80" y="25"/>
              </a:cxn>
              <a:cxn ang="0">
                <a:pos x="74" y="19"/>
              </a:cxn>
              <a:cxn ang="0">
                <a:pos x="70" y="14"/>
              </a:cxn>
              <a:cxn ang="0">
                <a:pos x="64" y="9"/>
              </a:cxn>
              <a:cxn ang="0">
                <a:pos x="58" y="6"/>
              </a:cxn>
              <a:cxn ang="0">
                <a:pos x="51" y="3"/>
              </a:cxn>
              <a:cxn ang="0">
                <a:pos x="46" y="1"/>
              </a:cxn>
              <a:cxn ang="0">
                <a:pos x="39" y="0"/>
              </a:cxn>
              <a:cxn ang="0">
                <a:pos x="33" y="0"/>
              </a:cxn>
              <a:cxn ang="0">
                <a:pos x="26" y="1"/>
              </a:cxn>
              <a:cxn ang="0">
                <a:pos x="19" y="3"/>
              </a:cxn>
              <a:cxn ang="0">
                <a:pos x="14" y="6"/>
              </a:cxn>
              <a:cxn ang="0">
                <a:pos x="8" y="10"/>
              </a:cxn>
              <a:cxn ang="0">
                <a:pos x="4" y="15"/>
              </a:cxn>
              <a:cxn ang="0">
                <a:pos x="0" y="21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39" y="18"/>
              </a:cxn>
              <a:cxn ang="0">
                <a:pos x="59" y="6"/>
              </a:cxn>
              <a:cxn ang="0">
                <a:pos x="51" y="5"/>
              </a:cxn>
              <a:cxn ang="0">
                <a:pos x="45" y="4"/>
              </a:cxn>
              <a:cxn ang="0">
                <a:pos x="37" y="5"/>
              </a:cxn>
              <a:cxn ang="0">
                <a:pos x="29" y="6"/>
              </a:cxn>
              <a:cxn ang="0">
                <a:pos x="22" y="6"/>
              </a:cxn>
              <a:cxn ang="0">
                <a:pos x="14" y="5"/>
              </a:cxn>
              <a:cxn ang="0">
                <a:pos x="7" y="4"/>
              </a:cxn>
              <a:cxn ang="0">
                <a:pos x="0" y="0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/>
            <a:ahLst/>
            <a:cxnLst>
              <a:cxn ang="0">
                <a:pos x="4" y="19"/>
              </a:cxn>
              <a:cxn ang="0">
                <a:pos x="4" y="0"/>
              </a:cxn>
              <a:cxn ang="0">
                <a:pos x="2" y="1"/>
              </a:cxn>
              <a:cxn ang="0">
                <a:pos x="1" y="3"/>
              </a:cxn>
              <a:cxn ang="0">
                <a:pos x="0" y="6"/>
              </a:cxn>
              <a:cxn ang="0">
                <a:pos x="0" y="10"/>
              </a:cxn>
              <a:cxn ang="0">
                <a:pos x="0" y="14"/>
              </a:cxn>
              <a:cxn ang="0">
                <a:pos x="1" y="16"/>
              </a:cxn>
              <a:cxn ang="0">
                <a:pos x="2" y="19"/>
              </a:cxn>
              <a:cxn ang="0">
                <a:pos x="4" y="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7" y="0"/>
              </a:cxn>
              <a:cxn ang="0">
                <a:pos x="23" y="8"/>
              </a:cxn>
              <a:cxn ang="0">
                <a:pos x="34" y="14"/>
              </a:cxn>
              <a:cxn ang="0">
                <a:pos x="37" y="18"/>
              </a:cxn>
              <a:cxn ang="0">
                <a:pos x="41" y="22"/>
              </a:cxn>
              <a:cxn ang="0">
                <a:pos x="44" y="30"/>
              </a:cxn>
              <a:cxn ang="0">
                <a:pos x="46" y="38"/>
              </a:cxn>
              <a:cxn ang="0">
                <a:pos x="34" y="42"/>
              </a:cxn>
              <a:cxn ang="0">
                <a:pos x="21" y="46"/>
              </a:cxn>
              <a:cxn ang="0">
                <a:pos x="8" y="49"/>
              </a:cxn>
              <a:cxn ang="0">
                <a:pos x="0" y="50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" y="0"/>
              </a:cxn>
              <a:cxn ang="0">
                <a:pos x="18" y="0"/>
              </a:cxn>
              <a:cxn ang="0">
                <a:pos x="26" y="0"/>
              </a:cxn>
              <a:cxn ang="0">
                <a:pos x="33" y="0"/>
              </a:cxn>
              <a:cxn ang="0">
                <a:pos x="33" y="7"/>
              </a:cxn>
              <a:cxn ang="0">
                <a:pos x="34" y="14"/>
              </a:cxn>
              <a:cxn ang="0">
                <a:pos x="36" y="21"/>
              </a:cxn>
              <a:cxn ang="0">
                <a:pos x="38" y="27"/>
              </a:cxn>
              <a:cxn ang="0">
                <a:pos x="44" y="36"/>
              </a:cxn>
              <a:cxn ang="0">
                <a:pos x="49" y="45"/>
              </a:cxn>
              <a:cxn ang="0">
                <a:pos x="56" y="52"/>
              </a:cxn>
              <a:cxn ang="0">
                <a:pos x="61" y="60"/>
              </a:cxn>
              <a:cxn ang="0">
                <a:pos x="62" y="65"/>
              </a:cxn>
              <a:cxn ang="0">
                <a:pos x="65" y="69"/>
              </a:cxn>
              <a:cxn ang="0">
                <a:pos x="66" y="75"/>
              </a:cxn>
              <a:cxn ang="0">
                <a:pos x="66" y="80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/>
            <a:ahLst/>
            <a:cxnLst>
              <a:cxn ang="0">
                <a:pos x="20" y="48"/>
              </a:cxn>
              <a:cxn ang="0">
                <a:pos x="20" y="39"/>
              </a:cxn>
              <a:cxn ang="0">
                <a:pos x="19" y="32"/>
              </a:cxn>
              <a:cxn ang="0">
                <a:pos x="16" y="25"/>
              </a:cxn>
              <a:cxn ang="0">
                <a:pos x="14" y="19"/>
              </a:cxn>
              <a:cxn ang="0">
                <a:pos x="12" y="14"/>
              </a:cxn>
              <a:cxn ang="0">
                <a:pos x="9" y="9"/>
              </a:cxn>
              <a:cxn ang="0">
                <a:pos x="4" y="4"/>
              </a:cxn>
              <a:cxn ang="0">
                <a:pos x="0" y="0"/>
              </a:cxn>
              <a:cxn ang="0">
                <a:pos x="0" y="8"/>
              </a:cxn>
              <a:cxn ang="0">
                <a:pos x="2" y="17"/>
              </a:cxn>
              <a:cxn ang="0">
                <a:pos x="4" y="24"/>
              </a:cxn>
              <a:cxn ang="0">
                <a:pos x="8" y="31"/>
              </a:cxn>
              <a:cxn ang="0">
                <a:pos x="14" y="41"/>
              </a:cxn>
              <a:cxn ang="0">
                <a:pos x="20" y="48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0" y="8"/>
              </a:cxn>
              <a:cxn ang="0">
                <a:pos x="18" y="5"/>
              </a:cxn>
              <a:cxn ang="0">
                <a:pos x="15" y="3"/>
              </a:cxn>
              <a:cxn ang="0">
                <a:pos x="13" y="2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1" y="4"/>
              </a:cxn>
              <a:cxn ang="0">
                <a:pos x="23" y="13"/>
              </a:cxn>
              <a:cxn ang="0">
                <a:pos x="37" y="23"/>
              </a:cxn>
              <a:cxn ang="0">
                <a:pos x="46" y="30"/>
              </a:cxn>
              <a:cxn ang="0">
                <a:pos x="49" y="18"/>
              </a:cxn>
              <a:cxn ang="0">
                <a:pos x="53" y="6"/>
              </a:cxn>
              <a:cxn ang="0">
                <a:pos x="37" y="5"/>
              </a:cxn>
              <a:cxn ang="0">
                <a:pos x="26" y="3"/>
              </a:cxn>
              <a:cxn ang="0">
                <a:pos x="21" y="3"/>
              </a:cxn>
              <a:cxn ang="0">
                <a:pos x="15" y="3"/>
              </a:cxn>
              <a:cxn ang="0">
                <a:pos x="9" y="4"/>
              </a:cxn>
              <a:cxn ang="0">
                <a:pos x="0" y="6"/>
              </a:cxn>
              <a:cxn ang="0">
                <a:pos x="7" y="0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21"/>
              </a:cxn>
              <a:cxn ang="0">
                <a:pos x="7" y="31"/>
              </a:cxn>
              <a:cxn ang="0">
                <a:pos x="22" y="31"/>
              </a:cxn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19" y="0"/>
              </a:cxn>
              <a:cxn ang="0">
                <a:pos x="10" y="0"/>
              </a:cxn>
              <a:cxn ang="0">
                <a:pos x="0" y="0"/>
              </a:cxn>
              <a:cxn ang="0">
                <a:pos x="0" y="6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/>
            <a:ahLst/>
            <a:cxnLst>
              <a:cxn ang="0">
                <a:pos x="19" y="68"/>
              </a:cxn>
              <a:cxn ang="0">
                <a:pos x="16" y="68"/>
              </a:cxn>
              <a:cxn ang="0">
                <a:pos x="14" y="66"/>
              </a:cxn>
              <a:cxn ang="0">
                <a:pos x="11" y="64"/>
              </a:cxn>
              <a:cxn ang="0">
                <a:pos x="7" y="61"/>
              </a:cxn>
              <a:cxn ang="0">
                <a:pos x="4" y="59"/>
              </a:cxn>
              <a:cxn ang="0">
                <a:pos x="2" y="55"/>
              </a:cxn>
              <a:cxn ang="0">
                <a:pos x="0" y="52"/>
              </a:cxn>
              <a:cxn ang="0">
                <a:pos x="0" y="49"/>
              </a:cxn>
              <a:cxn ang="0">
                <a:pos x="0" y="38"/>
              </a:cxn>
              <a:cxn ang="0">
                <a:pos x="2" y="29"/>
              </a:cxn>
              <a:cxn ang="0">
                <a:pos x="5" y="21"/>
              </a:cxn>
              <a:cxn ang="0">
                <a:pos x="9" y="14"/>
              </a:cxn>
              <a:cxn ang="0">
                <a:pos x="15" y="8"/>
              </a:cxn>
              <a:cxn ang="0">
                <a:pos x="22" y="4"/>
              </a:cxn>
              <a:cxn ang="0">
                <a:pos x="30" y="2"/>
              </a:cxn>
              <a:cxn ang="0">
                <a:pos x="39" y="0"/>
              </a:cxn>
              <a:cxn ang="0">
                <a:pos x="52" y="0"/>
              </a:cxn>
              <a:cxn ang="0">
                <a:pos x="65" y="0"/>
              </a:cxn>
              <a:cxn ang="0">
                <a:pos x="65" y="43"/>
              </a:cxn>
              <a:cxn ang="0">
                <a:pos x="56" y="52"/>
              </a:cxn>
              <a:cxn ang="0">
                <a:pos x="45" y="61"/>
              </a:cxn>
              <a:cxn ang="0">
                <a:pos x="39" y="64"/>
              </a:cxn>
              <a:cxn ang="0">
                <a:pos x="34" y="66"/>
              </a:cxn>
              <a:cxn ang="0">
                <a:pos x="27" y="68"/>
              </a:cxn>
              <a:cxn ang="0">
                <a:pos x="19" y="68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/>
            <a:ahLst/>
            <a:cxnLst>
              <a:cxn ang="0">
                <a:pos x="502" y="337"/>
              </a:cxn>
              <a:cxn ang="0">
                <a:pos x="484" y="341"/>
              </a:cxn>
              <a:cxn ang="0">
                <a:pos x="479" y="382"/>
              </a:cxn>
              <a:cxn ang="0">
                <a:pos x="515" y="404"/>
              </a:cxn>
              <a:cxn ang="0">
                <a:pos x="534" y="405"/>
              </a:cxn>
              <a:cxn ang="0">
                <a:pos x="550" y="424"/>
              </a:cxn>
              <a:cxn ang="0">
                <a:pos x="560" y="459"/>
              </a:cxn>
              <a:cxn ang="0">
                <a:pos x="572" y="474"/>
              </a:cxn>
              <a:cxn ang="0">
                <a:pos x="588" y="483"/>
              </a:cxn>
              <a:cxn ang="0">
                <a:pos x="614" y="487"/>
              </a:cxn>
              <a:cxn ang="0">
                <a:pos x="625" y="505"/>
              </a:cxn>
              <a:cxn ang="0">
                <a:pos x="625" y="539"/>
              </a:cxn>
              <a:cxn ang="0">
                <a:pos x="618" y="603"/>
              </a:cxn>
              <a:cxn ang="0">
                <a:pos x="611" y="672"/>
              </a:cxn>
              <a:cxn ang="0">
                <a:pos x="562" y="693"/>
              </a:cxn>
              <a:cxn ang="0">
                <a:pos x="539" y="693"/>
              </a:cxn>
              <a:cxn ang="0">
                <a:pos x="394" y="564"/>
              </a:cxn>
              <a:cxn ang="0">
                <a:pos x="397" y="552"/>
              </a:cxn>
              <a:cxn ang="0">
                <a:pos x="394" y="539"/>
              </a:cxn>
              <a:cxn ang="0">
                <a:pos x="338" y="488"/>
              </a:cxn>
              <a:cxn ang="0">
                <a:pos x="305" y="453"/>
              </a:cxn>
              <a:cxn ang="0">
                <a:pos x="293" y="419"/>
              </a:cxn>
              <a:cxn ang="0">
                <a:pos x="291" y="381"/>
              </a:cxn>
              <a:cxn ang="0">
                <a:pos x="285" y="360"/>
              </a:cxn>
              <a:cxn ang="0">
                <a:pos x="268" y="342"/>
              </a:cxn>
              <a:cxn ang="0">
                <a:pos x="241" y="310"/>
              </a:cxn>
              <a:cxn ang="0">
                <a:pos x="224" y="269"/>
              </a:cxn>
              <a:cxn ang="0">
                <a:pos x="213" y="238"/>
              </a:cxn>
              <a:cxn ang="0">
                <a:pos x="190" y="212"/>
              </a:cxn>
              <a:cxn ang="0">
                <a:pos x="150" y="171"/>
              </a:cxn>
              <a:cxn ang="0">
                <a:pos x="136" y="146"/>
              </a:cxn>
              <a:cxn ang="0">
                <a:pos x="112" y="132"/>
              </a:cxn>
              <a:cxn ang="0">
                <a:pos x="80" y="113"/>
              </a:cxn>
              <a:cxn ang="0">
                <a:pos x="49" y="85"/>
              </a:cxn>
              <a:cxn ang="0">
                <a:pos x="23" y="51"/>
              </a:cxn>
              <a:cxn ang="0">
                <a:pos x="5" y="19"/>
              </a:cxn>
              <a:cxn ang="0">
                <a:pos x="10" y="4"/>
              </a:cxn>
              <a:cxn ang="0">
                <a:pos x="37" y="13"/>
              </a:cxn>
              <a:cxn ang="0">
                <a:pos x="84" y="16"/>
              </a:cxn>
              <a:cxn ang="0">
                <a:pos x="116" y="20"/>
              </a:cxn>
              <a:cxn ang="0">
                <a:pos x="138" y="27"/>
              </a:cxn>
              <a:cxn ang="0">
                <a:pos x="156" y="42"/>
              </a:cxn>
              <a:cxn ang="0">
                <a:pos x="204" y="109"/>
              </a:cxn>
              <a:cxn ang="0">
                <a:pos x="254" y="163"/>
              </a:cxn>
              <a:cxn ang="0">
                <a:pos x="299" y="202"/>
              </a:cxn>
              <a:cxn ang="0">
                <a:pos x="329" y="219"/>
              </a:cxn>
              <a:cxn ang="0">
                <a:pos x="366" y="227"/>
              </a:cxn>
              <a:cxn ang="0">
                <a:pos x="388" y="230"/>
              </a:cxn>
              <a:cxn ang="0">
                <a:pos x="401" y="241"/>
              </a:cxn>
              <a:cxn ang="0">
                <a:pos x="416" y="260"/>
              </a:cxn>
              <a:cxn ang="0">
                <a:pos x="427" y="265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/>
            <a:ahLst/>
            <a:cxnLst>
              <a:cxn ang="0">
                <a:pos x="516" y="28"/>
              </a:cxn>
              <a:cxn ang="0">
                <a:pos x="495" y="55"/>
              </a:cxn>
              <a:cxn ang="0">
                <a:pos x="512" y="93"/>
              </a:cxn>
              <a:cxn ang="0">
                <a:pos x="534" y="130"/>
              </a:cxn>
              <a:cxn ang="0">
                <a:pos x="573" y="177"/>
              </a:cxn>
              <a:cxn ang="0">
                <a:pos x="580" y="205"/>
              </a:cxn>
              <a:cxn ang="0">
                <a:pos x="547" y="204"/>
              </a:cxn>
              <a:cxn ang="0">
                <a:pos x="516" y="233"/>
              </a:cxn>
              <a:cxn ang="0">
                <a:pos x="506" y="246"/>
              </a:cxn>
              <a:cxn ang="0">
                <a:pos x="518" y="271"/>
              </a:cxn>
              <a:cxn ang="0">
                <a:pos x="525" y="294"/>
              </a:cxn>
              <a:cxn ang="0">
                <a:pos x="505" y="308"/>
              </a:cxn>
              <a:cxn ang="0">
                <a:pos x="459" y="323"/>
              </a:cxn>
              <a:cxn ang="0">
                <a:pos x="443" y="354"/>
              </a:cxn>
              <a:cxn ang="0">
                <a:pos x="445" y="415"/>
              </a:cxn>
              <a:cxn ang="0">
                <a:pos x="430" y="454"/>
              </a:cxn>
              <a:cxn ang="0">
                <a:pos x="400" y="472"/>
              </a:cxn>
              <a:cxn ang="0">
                <a:pos x="370" y="488"/>
              </a:cxn>
              <a:cxn ang="0">
                <a:pos x="341" y="493"/>
              </a:cxn>
              <a:cxn ang="0">
                <a:pos x="329" y="487"/>
              </a:cxn>
              <a:cxn ang="0">
                <a:pos x="327" y="471"/>
              </a:cxn>
              <a:cxn ang="0">
                <a:pos x="304" y="451"/>
              </a:cxn>
              <a:cxn ang="0">
                <a:pos x="251" y="454"/>
              </a:cxn>
              <a:cxn ang="0">
                <a:pos x="219" y="462"/>
              </a:cxn>
              <a:cxn ang="0">
                <a:pos x="176" y="440"/>
              </a:cxn>
              <a:cxn ang="0">
                <a:pos x="122" y="436"/>
              </a:cxn>
              <a:cxn ang="0">
                <a:pos x="95" y="429"/>
              </a:cxn>
              <a:cxn ang="0">
                <a:pos x="81" y="366"/>
              </a:cxn>
              <a:cxn ang="0">
                <a:pos x="58" y="310"/>
              </a:cxn>
              <a:cxn ang="0">
                <a:pos x="35" y="292"/>
              </a:cxn>
              <a:cxn ang="0">
                <a:pos x="12" y="260"/>
              </a:cxn>
              <a:cxn ang="0">
                <a:pos x="5" y="204"/>
              </a:cxn>
              <a:cxn ang="0">
                <a:pos x="31" y="153"/>
              </a:cxn>
              <a:cxn ang="0">
                <a:pos x="54" y="141"/>
              </a:cxn>
              <a:cxn ang="0">
                <a:pos x="75" y="152"/>
              </a:cxn>
              <a:cxn ang="0">
                <a:pos x="97" y="187"/>
              </a:cxn>
              <a:cxn ang="0">
                <a:pos x="129" y="214"/>
              </a:cxn>
              <a:cxn ang="0">
                <a:pos x="170" y="213"/>
              </a:cxn>
              <a:cxn ang="0">
                <a:pos x="221" y="189"/>
              </a:cxn>
              <a:cxn ang="0">
                <a:pos x="233" y="172"/>
              </a:cxn>
              <a:cxn ang="0">
                <a:pos x="288" y="178"/>
              </a:cxn>
              <a:cxn ang="0">
                <a:pos x="326" y="181"/>
              </a:cxn>
              <a:cxn ang="0">
                <a:pos x="337" y="170"/>
              </a:cxn>
              <a:cxn ang="0">
                <a:pos x="362" y="158"/>
              </a:cxn>
              <a:cxn ang="0">
                <a:pos x="383" y="136"/>
              </a:cxn>
              <a:cxn ang="0">
                <a:pos x="415" y="79"/>
              </a:cxn>
              <a:cxn ang="0">
                <a:pos x="427" y="25"/>
              </a:cxn>
              <a:cxn ang="0">
                <a:pos x="447" y="6"/>
              </a:cxn>
              <a:cxn ang="0">
                <a:pos x="479" y="2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/>
            <a:ahLst/>
            <a:cxnLst>
              <a:cxn ang="0">
                <a:pos x="0" y="105"/>
              </a:cxn>
              <a:cxn ang="0">
                <a:pos x="16" y="85"/>
              </a:cxn>
              <a:cxn ang="0">
                <a:pos x="35" y="68"/>
              </a:cxn>
              <a:cxn ang="0">
                <a:pos x="44" y="60"/>
              </a:cxn>
              <a:cxn ang="0">
                <a:pos x="54" y="53"/>
              </a:cxn>
              <a:cxn ang="0">
                <a:pos x="64" y="46"/>
              </a:cxn>
              <a:cxn ang="0">
                <a:pos x="73" y="38"/>
              </a:cxn>
              <a:cxn ang="0">
                <a:pos x="83" y="32"/>
              </a:cxn>
              <a:cxn ang="0">
                <a:pos x="94" y="27"/>
              </a:cxn>
              <a:cxn ang="0">
                <a:pos x="106" y="21"/>
              </a:cxn>
              <a:cxn ang="0">
                <a:pos x="118" y="16"/>
              </a:cxn>
              <a:cxn ang="0">
                <a:pos x="144" y="8"/>
              </a:cxn>
              <a:cxn ang="0">
                <a:pos x="172" y="0"/>
              </a:cxn>
              <a:cxn ang="0">
                <a:pos x="212" y="0"/>
              </a:cxn>
              <a:cxn ang="0">
                <a:pos x="202" y="9"/>
              </a:cxn>
              <a:cxn ang="0">
                <a:pos x="190" y="18"/>
              </a:cxn>
              <a:cxn ang="0">
                <a:pos x="178" y="27"/>
              </a:cxn>
              <a:cxn ang="0">
                <a:pos x="165" y="35"/>
              </a:cxn>
              <a:cxn ang="0">
                <a:pos x="137" y="52"/>
              </a:cxn>
              <a:cxn ang="0">
                <a:pos x="109" y="66"/>
              </a:cxn>
              <a:cxn ang="0">
                <a:pos x="79" y="79"/>
              </a:cxn>
              <a:cxn ang="0">
                <a:pos x="50" y="90"/>
              </a:cxn>
              <a:cxn ang="0">
                <a:pos x="23" y="99"/>
              </a:cxn>
              <a:cxn ang="0">
                <a:pos x="0" y="105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0" y="148"/>
              </a:cxn>
              <a:cxn ang="0">
                <a:pos x="5" y="144"/>
              </a:cxn>
              <a:cxn ang="0">
                <a:pos x="12" y="139"/>
              </a:cxn>
              <a:cxn ang="0">
                <a:pos x="14" y="137"/>
              </a:cxn>
              <a:cxn ang="0">
                <a:pos x="17" y="135"/>
              </a:cxn>
              <a:cxn ang="0">
                <a:pos x="18" y="132"/>
              </a:cxn>
              <a:cxn ang="0">
                <a:pos x="19" y="130"/>
              </a:cxn>
              <a:cxn ang="0">
                <a:pos x="20" y="138"/>
              </a:cxn>
              <a:cxn ang="0">
                <a:pos x="24" y="148"/>
              </a:cxn>
              <a:cxn ang="0">
                <a:pos x="27" y="154"/>
              </a:cxn>
              <a:cxn ang="0">
                <a:pos x="30" y="159"/>
              </a:cxn>
              <a:cxn ang="0">
                <a:pos x="35" y="163"/>
              </a:cxn>
              <a:cxn ang="0">
                <a:pos x="39" y="166"/>
              </a:cxn>
              <a:cxn ang="0">
                <a:pos x="41" y="158"/>
              </a:cxn>
              <a:cxn ang="0">
                <a:pos x="41" y="148"/>
              </a:cxn>
              <a:cxn ang="0">
                <a:pos x="41" y="137"/>
              </a:cxn>
              <a:cxn ang="0">
                <a:pos x="41" y="126"/>
              </a:cxn>
              <a:cxn ang="0">
                <a:pos x="40" y="107"/>
              </a:cxn>
              <a:cxn ang="0">
                <a:pos x="39" y="99"/>
              </a:cxn>
              <a:cxn ang="0">
                <a:pos x="48" y="100"/>
              </a:cxn>
              <a:cxn ang="0">
                <a:pos x="57" y="102"/>
              </a:cxn>
              <a:cxn ang="0">
                <a:pos x="64" y="105"/>
              </a:cxn>
              <a:cxn ang="0">
                <a:pos x="71" y="108"/>
              </a:cxn>
              <a:cxn ang="0">
                <a:pos x="76" y="111"/>
              </a:cxn>
              <a:cxn ang="0">
                <a:pos x="82" y="114"/>
              </a:cxn>
              <a:cxn ang="0">
                <a:pos x="87" y="116"/>
              </a:cxn>
              <a:cxn ang="0">
                <a:pos x="92" y="118"/>
              </a:cxn>
              <a:cxn ang="0">
                <a:pos x="85" y="103"/>
              </a:cxn>
              <a:cxn ang="0">
                <a:pos x="81" y="89"/>
              </a:cxn>
              <a:cxn ang="0">
                <a:pos x="76" y="75"/>
              </a:cxn>
              <a:cxn ang="0">
                <a:pos x="73" y="60"/>
              </a:cxn>
              <a:cxn ang="0">
                <a:pos x="70" y="47"/>
              </a:cxn>
              <a:cxn ang="0">
                <a:pos x="67" y="34"/>
              </a:cxn>
              <a:cxn ang="0">
                <a:pos x="63" y="23"/>
              </a:cxn>
              <a:cxn ang="0">
                <a:pos x="59" y="13"/>
              </a:cxn>
              <a:cxn ang="0">
                <a:pos x="59" y="19"/>
              </a:cxn>
              <a:cxn ang="0">
                <a:pos x="59" y="25"/>
              </a:cxn>
              <a:cxn ang="0">
                <a:pos x="50" y="23"/>
              </a:cxn>
              <a:cxn ang="0">
                <a:pos x="42" y="19"/>
              </a:cxn>
              <a:cxn ang="0">
                <a:pos x="35" y="15"/>
              </a:cxn>
              <a:cxn ang="0">
                <a:pos x="29" y="11"/>
              </a:cxn>
              <a:cxn ang="0">
                <a:pos x="23" y="7"/>
              </a:cxn>
              <a:cxn ang="0">
                <a:pos x="16" y="3"/>
              </a:cxn>
              <a:cxn ang="0">
                <a:pos x="8" y="1"/>
              </a:cxn>
              <a:cxn ang="0">
                <a:pos x="0" y="0"/>
              </a:cxn>
              <a:cxn ang="0">
                <a:pos x="0" y="10"/>
              </a:cxn>
              <a:cxn ang="0">
                <a:pos x="0" y="19"/>
              </a:cxn>
              <a:cxn ang="0">
                <a:pos x="0" y="33"/>
              </a:cxn>
              <a:cxn ang="0">
                <a:pos x="0" y="52"/>
              </a:cxn>
              <a:cxn ang="0">
                <a:pos x="0" y="70"/>
              </a:cxn>
              <a:cxn ang="0">
                <a:pos x="0" y="81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4" y="3"/>
              </a:cxn>
              <a:cxn ang="0">
                <a:pos x="22" y="6"/>
              </a:cxn>
              <a:cxn ang="0">
                <a:pos x="30" y="7"/>
              </a:cxn>
              <a:cxn ang="0">
                <a:pos x="36" y="8"/>
              </a:cxn>
              <a:cxn ang="0">
                <a:pos x="48" y="8"/>
              </a:cxn>
              <a:cxn ang="0">
                <a:pos x="58" y="7"/>
              </a:cxn>
              <a:cxn ang="0">
                <a:pos x="69" y="5"/>
              </a:cxn>
              <a:cxn ang="0">
                <a:pos x="80" y="3"/>
              </a:cxn>
              <a:cxn ang="0">
                <a:pos x="92" y="1"/>
              </a:cxn>
              <a:cxn ang="0">
                <a:pos x="106" y="0"/>
              </a:cxn>
              <a:cxn ang="0">
                <a:pos x="111" y="1"/>
              </a:cxn>
              <a:cxn ang="0">
                <a:pos x="115" y="2"/>
              </a:cxn>
              <a:cxn ang="0">
                <a:pos x="120" y="5"/>
              </a:cxn>
              <a:cxn ang="0">
                <a:pos x="124" y="8"/>
              </a:cxn>
              <a:cxn ang="0">
                <a:pos x="132" y="17"/>
              </a:cxn>
              <a:cxn ang="0">
                <a:pos x="138" y="26"/>
              </a:cxn>
              <a:cxn ang="0">
                <a:pos x="145" y="36"/>
              </a:cxn>
              <a:cxn ang="0">
                <a:pos x="151" y="45"/>
              </a:cxn>
              <a:cxn ang="0">
                <a:pos x="155" y="49"/>
              </a:cxn>
              <a:cxn ang="0">
                <a:pos x="158" y="52"/>
              </a:cxn>
              <a:cxn ang="0">
                <a:pos x="162" y="54"/>
              </a:cxn>
              <a:cxn ang="0">
                <a:pos x="166" y="56"/>
              </a:cxn>
              <a:cxn ang="0">
                <a:pos x="159" y="57"/>
              </a:cxn>
              <a:cxn ang="0">
                <a:pos x="151" y="59"/>
              </a:cxn>
              <a:cxn ang="0">
                <a:pos x="143" y="61"/>
              </a:cxn>
              <a:cxn ang="0">
                <a:pos x="133" y="62"/>
              </a:cxn>
              <a:cxn ang="0">
                <a:pos x="125" y="61"/>
              </a:cxn>
              <a:cxn ang="0">
                <a:pos x="119" y="58"/>
              </a:cxn>
              <a:cxn ang="0">
                <a:pos x="112" y="54"/>
              </a:cxn>
              <a:cxn ang="0">
                <a:pos x="106" y="50"/>
              </a:cxn>
              <a:cxn ang="0">
                <a:pos x="100" y="45"/>
              </a:cxn>
              <a:cxn ang="0">
                <a:pos x="93" y="41"/>
              </a:cxn>
              <a:cxn ang="0">
                <a:pos x="87" y="39"/>
              </a:cxn>
              <a:cxn ang="0">
                <a:pos x="79" y="38"/>
              </a:cxn>
              <a:cxn ang="0">
                <a:pos x="56" y="38"/>
              </a:cxn>
              <a:cxn ang="0">
                <a:pos x="35" y="39"/>
              </a:cxn>
              <a:cxn ang="0">
                <a:pos x="26" y="41"/>
              </a:cxn>
              <a:cxn ang="0">
                <a:pos x="19" y="43"/>
              </a:cxn>
              <a:cxn ang="0">
                <a:pos x="12" y="46"/>
              </a:cxn>
              <a:cxn ang="0">
                <a:pos x="7" y="50"/>
              </a:cxn>
              <a:cxn ang="0">
                <a:pos x="2" y="45"/>
              </a:cxn>
              <a:cxn ang="0">
                <a:pos x="1" y="40"/>
              </a:cxn>
              <a:cxn ang="0">
                <a:pos x="0" y="34"/>
              </a:cxn>
              <a:cxn ang="0">
                <a:pos x="1" y="28"/>
              </a:cxn>
              <a:cxn ang="0">
                <a:pos x="4" y="15"/>
              </a:cxn>
              <a:cxn ang="0">
                <a:pos x="7" y="0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48" y="25"/>
              </a:cxn>
              <a:cxn ang="0">
                <a:pos x="68" y="12"/>
              </a:cxn>
              <a:cxn ang="0">
                <a:pos x="84" y="4"/>
              </a:cxn>
              <a:cxn ang="0">
                <a:pos x="94" y="1"/>
              </a:cxn>
              <a:cxn ang="0">
                <a:pos x="105" y="1"/>
              </a:cxn>
              <a:cxn ang="0">
                <a:pos x="116" y="3"/>
              </a:cxn>
              <a:cxn ang="0">
                <a:pos x="131" y="10"/>
              </a:cxn>
              <a:cxn ang="0">
                <a:pos x="148" y="21"/>
              </a:cxn>
              <a:cxn ang="0">
                <a:pos x="162" y="28"/>
              </a:cxn>
              <a:cxn ang="0">
                <a:pos x="173" y="30"/>
              </a:cxn>
              <a:cxn ang="0">
                <a:pos x="179" y="48"/>
              </a:cxn>
              <a:cxn ang="0">
                <a:pos x="178" y="66"/>
              </a:cxn>
              <a:cxn ang="0">
                <a:pos x="182" y="75"/>
              </a:cxn>
              <a:cxn ang="0">
                <a:pos x="187" y="89"/>
              </a:cxn>
              <a:cxn ang="0">
                <a:pos x="188" y="102"/>
              </a:cxn>
              <a:cxn ang="0">
                <a:pos x="191" y="109"/>
              </a:cxn>
              <a:cxn ang="0">
                <a:pos x="188" y="114"/>
              </a:cxn>
              <a:cxn ang="0">
                <a:pos x="177" y="118"/>
              </a:cxn>
              <a:cxn ang="0">
                <a:pos x="159" y="121"/>
              </a:cxn>
              <a:cxn ang="0">
                <a:pos x="116" y="119"/>
              </a:cxn>
              <a:cxn ang="0">
                <a:pos x="72" y="116"/>
              </a:cxn>
              <a:cxn ang="0">
                <a:pos x="63" y="110"/>
              </a:cxn>
              <a:cxn ang="0">
                <a:pos x="56" y="100"/>
              </a:cxn>
              <a:cxn ang="0">
                <a:pos x="54" y="87"/>
              </a:cxn>
              <a:cxn ang="0">
                <a:pos x="47" y="79"/>
              </a:cxn>
              <a:cxn ang="0">
                <a:pos x="31" y="75"/>
              </a:cxn>
              <a:cxn ang="0">
                <a:pos x="13" y="69"/>
              </a:cxn>
              <a:cxn ang="0">
                <a:pos x="3" y="62"/>
              </a:cxn>
              <a:cxn ang="0">
                <a:pos x="0" y="58"/>
              </a:cxn>
              <a:cxn ang="0">
                <a:pos x="1" y="51"/>
              </a:cxn>
              <a:cxn ang="0">
                <a:pos x="7" y="45"/>
              </a:cxn>
              <a:cxn ang="0">
                <a:pos x="20" y="38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/>
            <a:ahLst/>
            <a:cxnLst>
              <a:cxn ang="0">
                <a:pos x="37" y="419"/>
              </a:cxn>
              <a:cxn ang="0">
                <a:pos x="46" y="407"/>
              </a:cxn>
              <a:cxn ang="0">
                <a:pos x="24" y="311"/>
              </a:cxn>
              <a:cxn ang="0">
                <a:pos x="2" y="294"/>
              </a:cxn>
              <a:cxn ang="0">
                <a:pos x="15" y="270"/>
              </a:cxn>
              <a:cxn ang="0">
                <a:pos x="31" y="221"/>
              </a:cxn>
              <a:cxn ang="0">
                <a:pos x="39" y="172"/>
              </a:cxn>
              <a:cxn ang="0">
                <a:pos x="57" y="159"/>
              </a:cxn>
              <a:cxn ang="0">
                <a:pos x="65" y="130"/>
              </a:cxn>
              <a:cxn ang="0">
                <a:pos x="76" y="78"/>
              </a:cxn>
              <a:cxn ang="0">
                <a:pos x="90" y="51"/>
              </a:cxn>
              <a:cxn ang="0">
                <a:pos x="115" y="31"/>
              </a:cxn>
              <a:cxn ang="0">
                <a:pos x="153" y="25"/>
              </a:cxn>
              <a:cxn ang="0">
                <a:pos x="217" y="38"/>
              </a:cxn>
              <a:cxn ang="0">
                <a:pos x="262" y="48"/>
              </a:cxn>
              <a:cxn ang="0">
                <a:pos x="303" y="45"/>
              </a:cxn>
              <a:cxn ang="0">
                <a:pos x="329" y="31"/>
              </a:cxn>
              <a:cxn ang="0">
                <a:pos x="356" y="7"/>
              </a:cxn>
              <a:cxn ang="0">
                <a:pos x="374" y="9"/>
              </a:cxn>
              <a:cxn ang="0">
                <a:pos x="372" y="35"/>
              </a:cxn>
              <a:cxn ang="0">
                <a:pos x="329" y="80"/>
              </a:cxn>
              <a:cxn ang="0">
                <a:pos x="292" y="97"/>
              </a:cxn>
              <a:cxn ang="0">
                <a:pos x="271" y="94"/>
              </a:cxn>
              <a:cxn ang="0">
                <a:pos x="238" y="69"/>
              </a:cxn>
              <a:cxn ang="0">
                <a:pos x="212" y="56"/>
              </a:cxn>
              <a:cxn ang="0">
                <a:pos x="177" y="56"/>
              </a:cxn>
              <a:cxn ang="0">
                <a:pos x="138" y="61"/>
              </a:cxn>
              <a:cxn ang="0">
                <a:pos x="114" y="79"/>
              </a:cxn>
              <a:cxn ang="0">
                <a:pos x="79" y="161"/>
              </a:cxn>
              <a:cxn ang="0">
                <a:pos x="119" y="169"/>
              </a:cxn>
              <a:cxn ang="0">
                <a:pos x="133" y="191"/>
              </a:cxn>
              <a:cxn ang="0">
                <a:pos x="155" y="168"/>
              </a:cxn>
              <a:cxn ang="0">
                <a:pos x="172" y="153"/>
              </a:cxn>
              <a:cxn ang="0">
                <a:pos x="221" y="150"/>
              </a:cxn>
              <a:cxn ang="0">
                <a:pos x="250" y="147"/>
              </a:cxn>
              <a:cxn ang="0">
                <a:pos x="273" y="173"/>
              </a:cxn>
              <a:cxn ang="0">
                <a:pos x="279" y="203"/>
              </a:cxn>
              <a:cxn ang="0">
                <a:pos x="246" y="192"/>
              </a:cxn>
              <a:cxn ang="0">
                <a:pos x="218" y="185"/>
              </a:cxn>
              <a:cxn ang="0">
                <a:pos x="192" y="195"/>
              </a:cxn>
              <a:cxn ang="0">
                <a:pos x="186" y="209"/>
              </a:cxn>
              <a:cxn ang="0">
                <a:pos x="192" y="233"/>
              </a:cxn>
              <a:cxn ang="0">
                <a:pos x="220" y="272"/>
              </a:cxn>
              <a:cxn ang="0">
                <a:pos x="225" y="296"/>
              </a:cxn>
              <a:cxn ang="0">
                <a:pos x="215" y="322"/>
              </a:cxn>
              <a:cxn ang="0">
                <a:pos x="205" y="345"/>
              </a:cxn>
              <a:cxn ang="0">
                <a:pos x="210" y="356"/>
              </a:cxn>
              <a:cxn ang="0">
                <a:pos x="236" y="368"/>
              </a:cxn>
              <a:cxn ang="0">
                <a:pos x="252" y="400"/>
              </a:cxn>
              <a:cxn ang="0">
                <a:pos x="239" y="429"/>
              </a:cxn>
              <a:cxn ang="0">
                <a:pos x="221" y="421"/>
              </a:cxn>
              <a:cxn ang="0">
                <a:pos x="202" y="417"/>
              </a:cxn>
              <a:cxn ang="0">
                <a:pos x="177" y="400"/>
              </a:cxn>
              <a:cxn ang="0">
                <a:pos x="153" y="356"/>
              </a:cxn>
              <a:cxn ang="0">
                <a:pos x="137" y="304"/>
              </a:cxn>
              <a:cxn ang="0">
                <a:pos x="114" y="263"/>
              </a:cxn>
              <a:cxn ang="0">
                <a:pos x="97" y="259"/>
              </a:cxn>
              <a:cxn ang="0">
                <a:pos x="105" y="381"/>
              </a:cxn>
              <a:cxn ang="0">
                <a:pos x="93" y="404"/>
              </a:cxn>
              <a:cxn ang="0">
                <a:pos x="57" y="426"/>
              </a:cxn>
              <a:cxn ang="0">
                <a:pos x="59" y="437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/>
            <a:ahLst/>
            <a:cxnLst>
              <a:cxn ang="0">
                <a:pos x="11" y="50"/>
              </a:cxn>
              <a:cxn ang="0">
                <a:pos x="24" y="32"/>
              </a:cxn>
              <a:cxn ang="0">
                <a:pos x="41" y="7"/>
              </a:cxn>
              <a:cxn ang="0">
                <a:pos x="54" y="0"/>
              </a:cxn>
              <a:cxn ang="0">
                <a:pos x="79" y="2"/>
              </a:cxn>
              <a:cxn ang="0">
                <a:pos x="95" y="2"/>
              </a:cxn>
              <a:cxn ang="0">
                <a:pos x="101" y="5"/>
              </a:cxn>
              <a:cxn ang="0">
                <a:pos x="115" y="15"/>
              </a:cxn>
              <a:cxn ang="0">
                <a:pos x="147" y="27"/>
              </a:cxn>
              <a:cxn ang="0">
                <a:pos x="168" y="37"/>
              </a:cxn>
              <a:cxn ang="0">
                <a:pos x="178" y="53"/>
              </a:cxn>
              <a:cxn ang="0">
                <a:pos x="192" y="61"/>
              </a:cxn>
              <a:cxn ang="0">
                <a:pos x="231" y="60"/>
              </a:cxn>
              <a:cxn ang="0">
                <a:pos x="277" y="51"/>
              </a:cxn>
              <a:cxn ang="0">
                <a:pos x="299" y="39"/>
              </a:cxn>
              <a:cxn ang="0">
                <a:pos x="314" y="34"/>
              </a:cxn>
              <a:cxn ang="0">
                <a:pos x="327" y="35"/>
              </a:cxn>
              <a:cxn ang="0">
                <a:pos x="339" y="31"/>
              </a:cxn>
              <a:cxn ang="0">
                <a:pos x="366" y="34"/>
              </a:cxn>
              <a:cxn ang="0">
                <a:pos x="399" y="59"/>
              </a:cxn>
              <a:cxn ang="0">
                <a:pos x="428" y="89"/>
              </a:cxn>
              <a:cxn ang="0">
                <a:pos x="456" y="105"/>
              </a:cxn>
              <a:cxn ang="0">
                <a:pos x="479" y="107"/>
              </a:cxn>
              <a:cxn ang="0">
                <a:pos x="493" y="108"/>
              </a:cxn>
              <a:cxn ang="0">
                <a:pos x="505" y="125"/>
              </a:cxn>
              <a:cxn ang="0">
                <a:pos x="522" y="140"/>
              </a:cxn>
              <a:cxn ang="0">
                <a:pos x="534" y="139"/>
              </a:cxn>
              <a:cxn ang="0">
                <a:pos x="546" y="128"/>
              </a:cxn>
              <a:cxn ang="0">
                <a:pos x="558" y="134"/>
              </a:cxn>
              <a:cxn ang="0">
                <a:pos x="571" y="145"/>
              </a:cxn>
              <a:cxn ang="0">
                <a:pos x="578" y="160"/>
              </a:cxn>
              <a:cxn ang="0">
                <a:pos x="575" y="173"/>
              </a:cxn>
              <a:cxn ang="0">
                <a:pos x="567" y="182"/>
              </a:cxn>
              <a:cxn ang="0">
                <a:pos x="551" y="178"/>
              </a:cxn>
              <a:cxn ang="0">
                <a:pos x="526" y="170"/>
              </a:cxn>
              <a:cxn ang="0">
                <a:pos x="491" y="172"/>
              </a:cxn>
              <a:cxn ang="0">
                <a:pos x="462" y="170"/>
              </a:cxn>
              <a:cxn ang="0">
                <a:pos x="451" y="160"/>
              </a:cxn>
              <a:cxn ang="0">
                <a:pos x="438" y="154"/>
              </a:cxn>
              <a:cxn ang="0">
                <a:pos x="426" y="160"/>
              </a:cxn>
              <a:cxn ang="0">
                <a:pos x="416" y="170"/>
              </a:cxn>
              <a:cxn ang="0">
                <a:pos x="398" y="171"/>
              </a:cxn>
              <a:cxn ang="0">
                <a:pos x="328" y="153"/>
              </a:cxn>
              <a:cxn ang="0">
                <a:pos x="277" y="132"/>
              </a:cxn>
              <a:cxn ang="0">
                <a:pos x="266" y="123"/>
              </a:cxn>
              <a:cxn ang="0">
                <a:pos x="230" y="119"/>
              </a:cxn>
              <a:cxn ang="0">
                <a:pos x="201" y="113"/>
              </a:cxn>
              <a:cxn ang="0">
                <a:pos x="168" y="111"/>
              </a:cxn>
              <a:cxn ang="0">
                <a:pos x="146" y="111"/>
              </a:cxn>
              <a:cxn ang="0">
                <a:pos x="124" y="105"/>
              </a:cxn>
              <a:cxn ang="0">
                <a:pos x="120" y="99"/>
              </a:cxn>
              <a:cxn ang="0">
                <a:pos x="69" y="97"/>
              </a:cxn>
              <a:cxn ang="0">
                <a:pos x="46" y="88"/>
              </a:cxn>
              <a:cxn ang="0">
                <a:pos x="0" y="55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/>
            <a:ahLst/>
            <a:cxnLst>
              <a:cxn ang="0">
                <a:pos x="482" y="479"/>
              </a:cxn>
              <a:cxn ang="0">
                <a:pos x="457" y="465"/>
              </a:cxn>
              <a:cxn ang="0">
                <a:pos x="422" y="434"/>
              </a:cxn>
              <a:cxn ang="0">
                <a:pos x="412" y="417"/>
              </a:cxn>
              <a:cxn ang="0">
                <a:pos x="376" y="410"/>
              </a:cxn>
              <a:cxn ang="0">
                <a:pos x="360" y="406"/>
              </a:cxn>
              <a:cxn ang="0">
                <a:pos x="350" y="396"/>
              </a:cxn>
              <a:cxn ang="0">
                <a:pos x="346" y="374"/>
              </a:cxn>
              <a:cxn ang="0">
                <a:pos x="342" y="332"/>
              </a:cxn>
              <a:cxn ang="0">
                <a:pos x="327" y="303"/>
              </a:cxn>
              <a:cxn ang="0">
                <a:pos x="319" y="277"/>
              </a:cxn>
              <a:cxn ang="0">
                <a:pos x="314" y="244"/>
              </a:cxn>
              <a:cxn ang="0">
                <a:pos x="292" y="223"/>
              </a:cxn>
              <a:cxn ang="0">
                <a:pos x="260" y="205"/>
              </a:cxn>
              <a:cxn ang="0">
                <a:pos x="221" y="190"/>
              </a:cxn>
              <a:cxn ang="0">
                <a:pos x="178" y="181"/>
              </a:cxn>
              <a:cxn ang="0">
                <a:pos x="133" y="178"/>
              </a:cxn>
              <a:cxn ang="0">
                <a:pos x="133" y="156"/>
              </a:cxn>
              <a:cxn ang="0">
                <a:pos x="110" y="145"/>
              </a:cxn>
              <a:cxn ang="0">
                <a:pos x="85" y="130"/>
              </a:cxn>
              <a:cxn ang="0">
                <a:pos x="66" y="111"/>
              </a:cxn>
              <a:cxn ang="0">
                <a:pos x="73" y="133"/>
              </a:cxn>
              <a:cxn ang="0">
                <a:pos x="54" y="147"/>
              </a:cxn>
              <a:cxn ang="0">
                <a:pos x="40" y="178"/>
              </a:cxn>
              <a:cxn ang="0">
                <a:pos x="24" y="220"/>
              </a:cxn>
              <a:cxn ang="0">
                <a:pos x="13" y="265"/>
              </a:cxn>
              <a:cxn ang="0">
                <a:pos x="14" y="237"/>
              </a:cxn>
              <a:cxn ang="0">
                <a:pos x="23" y="209"/>
              </a:cxn>
              <a:cxn ang="0">
                <a:pos x="32" y="181"/>
              </a:cxn>
              <a:cxn ang="0">
                <a:pos x="30" y="143"/>
              </a:cxn>
              <a:cxn ang="0">
                <a:pos x="17" y="111"/>
              </a:cxn>
              <a:cxn ang="0">
                <a:pos x="0" y="73"/>
              </a:cxn>
              <a:cxn ang="0">
                <a:pos x="34" y="59"/>
              </a:cxn>
              <a:cxn ang="0">
                <a:pos x="59" y="55"/>
              </a:cxn>
              <a:cxn ang="0">
                <a:pos x="84" y="58"/>
              </a:cxn>
              <a:cxn ang="0">
                <a:pos x="102" y="66"/>
              </a:cxn>
              <a:cxn ang="0">
                <a:pos x="121" y="82"/>
              </a:cxn>
              <a:cxn ang="0">
                <a:pos x="140" y="111"/>
              </a:cxn>
              <a:cxn ang="0">
                <a:pos x="183" y="103"/>
              </a:cxn>
              <a:cxn ang="0">
                <a:pos x="196" y="96"/>
              </a:cxn>
              <a:cxn ang="0">
                <a:pos x="200" y="90"/>
              </a:cxn>
              <a:cxn ang="0">
                <a:pos x="207" y="73"/>
              </a:cxn>
              <a:cxn ang="0">
                <a:pos x="232" y="54"/>
              </a:cxn>
              <a:cxn ang="0">
                <a:pos x="254" y="49"/>
              </a:cxn>
              <a:cxn ang="0">
                <a:pos x="263" y="30"/>
              </a:cxn>
              <a:cxn ang="0">
                <a:pos x="280" y="9"/>
              </a:cxn>
              <a:cxn ang="0">
                <a:pos x="300" y="1"/>
              </a:cxn>
              <a:cxn ang="0">
                <a:pos x="323" y="0"/>
              </a:cxn>
              <a:cxn ang="0">
                <a:pos x="351" y="8"/>
              </a:cxn>
              <a:cxn ang="0">
                <a:pos x="399" y="38"/>
              </a:cxn>
              <a:cxn ang="0">
                <a:pos x="428" y="53"/>
              </a:cxn>
              <a:cxn ang="0">
                <a:pos x="459" y="60"/>
              </a:cxn>
              <a:cxn ang="0">
                <a:pos x="491" y="67"/>
              </a:cxn>
              <a:cxn ang="0">
                <a:pos x="491" y="326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72" y="0"/>
              </a:cxn>
              <a:cxn ang="0">
                <a:pos x="81" y="6"/>
              </a:cxn>
              <a:cxn ang="0">
                <a:pos x="91" y="14"/>
              </a:cxn>
              <a:cxn ang="0">
                <a:pos x="101" y="25"/>
              </a:cxn>
              <a:cxn ang="0">
                <a:pos x="109" y="37"/>
              </a:cxn>
              <a:cxn ang="0">
                <a:pos x="118" y="49"/>
              </a:cxn>
              <a:cxn ang="0">
                <a:pos x="126" y="62"/>
              </a:cxn>
              <a:cxn ang="0">
                <a:pos x="128" y="68"/>
              </a:cxn>
              <a:cxn ang="0">
                <a:pos x="130" y="74"/>
              </a:cxn>
              <a:cxn ang="0">
                <a:pos x="131" y="80"/>
              </a:cxn>
              <a:cxn ang="0">
                <a:pos x="133" y="86"/>
              </a:cxn>
              <a:cxn ang="0">
                <a:pos x="131" y="92"/>
              </a:cxn>
              <a:cxn ang="0">
                <a:pos x="128" y="97"/>
              </a:cxn>
              <a:cxn ang="0">
                <a:pos x="124" y="102"/>
              </a:cxn>
              <a:cxn ang="0">
                <a:pos x="118" y="107"/>
              </a:cxn>
              <a:cxn ang="0">
                <a:pos x="113" y="111"/>
              </a:cxn>
              <a:cxn ang="0">
                <a:pos x="107" y="114"/>
              </a:cxn>
              <a:cxn ang="0">
                <a:pos x="103" y="117"/>
              </a:cxn>
              <a:cxn ang="0">
                <a:pos x="100" y="117"/>
              </a:cxn>
              <a:cxn ang="0">
                <a:pos x="72" y="95"/>
              </a:cxn>
              <a:cxn ang="0">
                <a:pos x="45" y="70"/>
              </a:cxn>
              <a:cxn ang="0">
                <a:pos x="32" y="58"/>
              </a:cxn>
              <a:cxn ang="0">
                <a:pos x="18" y="46"/>
              </a:cxn>
              <a:cxn ang="0">
                <a:pos x="8" y="33"/>
              </a:cxn>
              <a:cxn ang="0">
                <a:pos x="0" y="19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/>
            <a:ahLst/>
            <a:cxnLst>
              <a:cxn ang="0">
                <a:pos x="272" y="36"/>
              </a:cxn>
              <a:cxn ang="0">
                <a:pos x="484" y="86"/>
              </a:cxn>
              <a:cxn ang="0">
                <a:pos x="478" y="109"/>
              </a:cxn>
              <a:cxn ang="0">
                <a:pos x="471" y="129"/>
              </a:cxn>
              <a:cxn ang="0">
                <a:pos x="461" y="145"/>
              </a:cxn>
              <a:cxn ang="0">
                <a:pos x="451" y="153"/>
              </a:cxn>
              <a:cxn ang="0">
                <a:pos x="461" y="184"/>
              </a:cxn>
              <a:cxn ang="0">
                <a:pos x="477" y="215"/>
              </a:cxn>
              <a:cxn ang="0">
                <a:pos x="505" y="258"/>
              </a:cxn>
              <a:cxn ang="0">
                <a:pos x="493" y="271"/>
              </a:cxn>
              <a:cxn ang="0">
                <a:pos x="479" y="292"/>
              </a:cxn>
              <a:cxn ang="0">
                <a:pos x="468" y="314"/>
              </a:cxn>
              <a:cxn ang="0">
                <a:pos x="464" y="339"/>
              </a:cxn>
              <a:cxn ang="0">
                <a:pos x="443" y="338"/>
              </a:cxn>
              <a:cxn ang="0">
                <a:pos x="414" y="335"/>
              </a:cxn>
              <a:cxn ang="0">
                <a:pos x="385" y="331"/>
              </a:cxn>
              <a:cxn ang="0">
                <a:pos x="358" y="326"/>
              </a:cxn>
              <a:cxn ang="0">
                <a:pos x="304" y="325"/>
              </a:cxn>
              <a:cxn ang="0">
                <a:pos x="264" y="321"/>
              </a:cxn>
              <a:cxn ang="0">
                <a:pos x="248" y="317"/>
              </a:cxn>
              <a:cxn ang="0">
                <a:pos x="232" y="310"/>
              </a:cxn>
              <a:cxn ang="0">
                <a:pos x="213" y="300"/>
              </a:cxn>
              <a:cxn ang="0">
                <a:pos x="180" y="289"/>
              </a:cxn>
              <a:cxn ang="0">
                <a:pos x="146" y="273"/>
              </a:cxn>
              <a:cxn ang="0">
                <a:pos x="98" y="249"/>
              </a:cxn>
              <a:cxn ang="0">
                <a:pos x="62" y="206"/>
              </a:cxn>
              <a:cxn ang="0">
                <a:pos x="52" y="169"/>
              </a:cxn>
              <a:cxn ang="0">
                <a:pos x="36" y="124"/>
              </a:cxn>
              <a:cxn ang="0">
                <a:pos x="15" y="83"/>
              </a:cxn>
              <a:cxn ang="0">
                <a:pos x="2" y="64"/>
              </a:cxn>
              <a:cxn ang="0">
                <a:pos x="5" y="61"/>
              </a:cxn>
              <a:cxn ang="0">
                <a:pos x="11" y="56"/>
              </a:cxn>
              <a:cxn ang="0">
                <a:pos x="11" y="48"/>
              </a:cxn>
              <a:cxn ang="0">
                <a:pos x="11" y="43"/>
              </a:cxn>
              <a:cxn ang="0">
                <a:pos x="34" y="34"/>
              </a:cxn>
              <a:cxn ang="0">
                <a:pos x="73" y="22"/>
              </a:cxn>
              <a:cxn ang="0">
                <a:pos x="128" y="8"/>
              </a:cxn>
              <a:cxn ang="0">
                <a:pos x="173" y="11"/>
              </a:cxn>
              <a:cxn ang="0">
                <a:pos x="188" y="28"/>
              </a:cxn>
              <a:cxn ang="0">
                <a:pos x="201" y="35"/>
              </a:cxn>
              <a:cxn ang="0">
                <a:pos x="219" y="36"/>
              </a:cxn>
              <a:cxn ang="0">
                <a:pos x="239" y="36"/>
              </a:cxn>
              <a:cxn ang="0">
                <a:pos x="259" y="24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186" y="0"/>
              </a:cxn>
              <a:cxn ang="0">
                <a:pos x="168" y="8"/>
              </a:cxn>
              <a:cxn ang="0">
                <a:pos x="144" y="21"/>
              </a:cxn>
              <a:cxn ang="0">
                <a:pos x="132" y="27"/>
              </a:cxn>
              <a:cxn ang="0">
                <a:pos x="119" y="32"/>
              </a:cxn>
              <a:cxn ang="0">
                <a:pos x="112" y="34"/>
              </a:cxn>
              <a:cxn ang="0">
                <a:pos x="105" y="35"/>
              </a:cxn>
              <a:cxn ang="0">
                <a:pos x="99" y="36"/>
              </a:cxn>
              <a:cxn ang="0">
                <a:pos x="93" y="37"/>
              </a:cxn>
              <a:cxn ang="0">
                <a:pos x="88" y="36"/>
              </a:cxn>
              <a:cxn ang="0">
                <a:pos x="84" y="35"/>
              </a:cxn>
              <a:cxn ang="0">
                <a:pos x="78" y="32"/>
              </a:cxn>
              <a:cxn ang="0">
                <a:pos x="74" y="30"/>
              </a:cxn>
              <a:cxn ang="0">
                <a:pos x="66" y="24"/>
              </a:cxn>
              <a:cxn ang="0">
                <a:pos x="59" y="18"/>
              </a:cxn>
              <a:cxn ang="0">
                <a:pos x="49" y="34"/>
              </a:cxn>
              <a:cxn ang="0">
                <a:pos x="37" y="51"/>
              </a:cxn>
              <a:cxn ang="0">
                <a:pos x="30" y="60"/>
              </a:cxn>
              <a:cxn ang="0">
                <a:pos x="21" y="68"/>
              </a:cxn>
              <a:cxn ang="0">
                <a:pos x="11" y="75"/>
              </a:cxn>
              <a:cxn ang="0">
                <a:pos x="0" y="80"/>
              </a:cxn>
              <a:cxn ang="0">
                <a:pos x="12" y="90"/>
              </a:cxn>
              <a:cxn ang="0">
                <a:pos x="23" y="100"/>
              </a:cxn>
              <a:cxn ang="0">
                <a:pos x="33" y="108"/>
              </a:cxn>
              <a:cxn ang="0">
                <a:pos x="44" y="116"/>
              </a:cxn>
              <a:cxn ang="0">
                <a:pos x="55" y="122"/>
              </a:cxn>
              <a:cxn ang="0">
                <a:pos x="66" y="129"/>
              </a:cxn>
              <a:cxn ang="0">
                <a:pos x="79" y="135"/>
              </a:cxn>
              <a:cxn ang="0">
                <a:pos x="93" y="141"/>
              </a:cxn>
              <a:cxn ang="0">
                <a:pos x="259" y="141"/>
              </a:cxn>
              <a:cxn ang="0">
                <a:pos x="269" y="124"/>
              </a:cxn>
              <a:cxn ang="0">
                <a:pos x="281" y="107"/>
              </a:cxn>
              <a:cxn ang="0">
                <a:pos x="292" y="92"/>
              </a:cxn>
              <a:cxn ang="0">
                <a:pos x="304" y="78"/>
              </a:cxn>
              <a:cxn ang="0">
                <a:pos x="315" y="64"/>
              </a:cxn>
              <a:cxn ang="0">
                <a:pos x="324" y="48"/>
              </a:cxn>
              <a:cxn ang="0">
                <a:pos x="333" y="34"/>
              </a:cxn>
              <a:cxn ang="0">
                <a:pos x="338" y="18"/>
              </a:cxn>
              <a:cxn ang="0">
                <a:pos x="312" y="0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/>
            <a:ahLst/>
            <a:cxnLst>
              <a:cxn ang="0">
                <a:pos x="259" y="129"/>
              </a:cxn>
              <a:cxn ang="0">
                <a:pos x="255" y="102"/>
              </a:cxn>
              <a:cxn ang="0">
                <a:pos x="252" y="80"/>
              </a:cxn>
              <a:cxn ang="0">
                <a:pos x="252" y="63"/>
              </a:cxn>
              <a:cxn ang="0">
                <a:pos x="253" y="50"/>
              </a:cxn>
              <a:cxn ang="0">
                <a:pos x="257" y="29"/>
              </a:cxn>
              <a:cxn ang="0">
                <a:pos x="259" y="12"/>
              </a:cxn>
              <a:cxn ang="0">
                <a:pos x="258" y="14"/>
              </a:cxn>
              <a:cxn ang="0">
                <a:pos x="256" y="16"/>
              </a:cxn>
              <a:cxn ang="0">
                <a:pos x="253" y="17"/>
              </a:cxn>
              <a:cxn ang="0">
                <a:pos x="249" y="18"/>
              </a:cxn>
              <a:cxn ang="0">
                <a:pos x="239" y="19"/>
              </a:cxn>
              <a:cxn ang="0">
                <a:pos x="228" y="19"/>
              </a:cxn>
              <a:cxn ang="0">
                <a:pos x="205" y="19"/>
              </a:cxn>
              <a:cxn ang="0">
                <a:pos x="192" y="18"/>
              </a:cxn>
              <a:cxn ang="0">
                <a:pos x="181" y="17"/>
              </a:cxn>
              <a:cxn ang="0">
                <a:pos x="172" y="15"/>
              </a:cxn>
              <a:cxn ang="0">
                <a:pos x="163" y="12"/>
              </a:cxn>
              <a:cxn ang="0">
                <a:pos x="156" y="9"/>
              </a:cxn>
              <a:cxn ang="0">
                <a:pos x="146" y="6"/>
              </a:cxn>
              <a:cxn ang="0">
                <a:pos x="134" y="3"/>
              </a:cxn>
              <a:cxn ang="0">
                <a:pos x="118" y="1"/>
              </a:cxn>
              <a:cxn ang="0">
                <a:pos x="99" y="0"/>
              </a:cxn>
              <a:cxn ang="0">
                <a:pos x="83" y="0"/>
              </a:cxn>
              <a:cxn ang="0">
                <a:pos x="67" y="0"/>
              </a:cxn>
              <a:cxn ang="0">
                <a:pos x="50" y="0"/>
              </a:cxn>
              <a:cxn ang="0">
                <a:pos x="34" y="2"/>
              </a:cxn>
              <a:cxn ang="0">
                <a:pos x="27" y="4"/>
              </a:cxn>
              <a:cxn ang="0">
                <a:pos x="21" y="6"/>
              </a:cxn>
              <a:cxn ang="0">
                <a:pos x="14" y="9"/>
              </a:cxn>
              <a:cxn ang="0">
                <a:pos x="10" y="13"/>
              </a:cxn>
              <a:cxn ang="0">
                <a:pos x="5" y="17"/>
              </a:cxn>
              <a:cxn ang="0">
                <a:pos x="2" y="22"/>
              </a:cxn>
              <a:cxn ang="0">
                <a:pos x="0" y="29"/>
              </a:cxn>
              <a:cxn ang="0">
                <a:pos x="0" y="36"/>
              </a:cxn>
              <a:cxn ang="0">
                <a:pos x="0" y="48"/>
              </a:cxn>
              <a:cxn ang="0">
                <a:pos x="3" y="58"/>
              </a:cxn>
              <a:cxn ang="0">
                <a:pos x="6" y="65"/>
              </a:cxn>
              <a:cxn ang="0">
                <a:pos x="12" y="71"/>
              </a:cxn>
              <a:cxn ang="0">
                <a:pos x="17" y="76"/>
              </a:cxn>
              <a:cxn ang="0">
                <a:pos x="24" y="80"/>
              </a:cxn>
              <a:cxn ang="0">
                <a:pos x="31" y="83"/>
              </a:cxn>
              <a:cxn ang="0">
                <a:pos x="37" y="85"/>
              </a:cxn>
              <a:cxn ang="0">
                <a:pos x="50" y="88"/>
              </a:cxn>
              <a:cxn ang="0">
                <a:pos x="61" y="92"/>
              </a:cxn>
              <a:cxn ang="0">
                <a:pos x="65" y="95"/>
              </a:cxn>
              <a:cxn ang="0">
                <a:pos x="67" y="99"/>
              </a:cxn>
              <a:cxn ang="0">
                <a:pos x="67" y="105"/>
              </a:cxn>
              <a:cxn ang="0">
                <a:pos x="66" y="111"/>
              </a:cxn>
              <a:cxn ang="0">
                <a:pos x="81" y="110"/>
              </a:cxn>
              <a:cxn ang="0">
                <a:pos x="91" y="108"/>
              </a:cxn>
              <a:cxn ang="0">
                <a:pos x="98" y="106"/>
              </a:cxn>
              <a:cxn ang="0">
                <a:pos x="105" y="105"/>
              </a:cxn>
              <a:cxn ang="0">
                <a:pos x="120" y="106"/>
              </a:cxn>
              <a:cxn ang="0">
                <a:pos x="140" y="108"/>
              </a:cxn>
              <a:cxn ang="0">
                <a:pos x="166" y="112"/>
              </a:cxn>
              <a:cxn ang="0">
                <a:pos x="192" y="117"/>
              </a:cxn>
              <a:cxn ang="0">
                <a:pos x="238" y="125"/>
              </a:cxn>
              <a:cxn ang="0">
                <a:pos x="259" y="129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/>
            <a:ahLst/>
            <a:cxnLst>
              <a:cxn ang="0">
                <a:pos x="418" y="170"/>
              </a:cxn>
              <a:cxn ang="0">
                <a:pos x="398" y="188"/>
              </a:cxn>
              <a:cxn ang="0">
                <a:pos x="383" y="206"/>
              </a:cxn>
              <a:cxn ang="0">
                <a:pos x="384" y="221"/>
              </a:cxn>
              <a:cxn ang="0">
                <a:pos x="389" y="237"/>
              </a:cxn>
              <a:cxn ang="0">
                <a:pos x="375" y="244"/>
              </a:cxn>
              <a:cxn ang="0">
                <a:pos x="347" y="238"/>
              </a:cxn>
              <a:cxn ang="0">
                <a:pos x="324" y="235"/>
              </a:cxn>
              <a:cxn ang="0">
                <a:pos x="295" y="235"/>
              </a:cxn>
              <a:cxn ang="0">
                <a:pos x="263" y="243"/>
              </a:cxn>
              <a:cxn ang="0">
                <a:pos x="232" y="254"/>
              </a:cxn>
              <a:cxn ang="0">
                <a:pos x="197" y="267"/>
              </a:cxn>
              <a:cxn ang="0">
                <a:pos x="100" y="240"/>
              </a:cxn>
              <a:cxn ang="0">
                <a:pos x="85" y="226"/>
              </a:cxn>
              <a:cxn ang="0">
                <a:pos x="70" y="214"/>
              </a:cxn>
              <a:cxn ang="0">
                <a:pos x="37" y="192"/>
              </a:cxn>
              <a:cxn ang="0">
                <a:pos x="22" y="180"/>
              </a:cxn>
              <a:cxn ang="0">
                <a:pos x="11" y="167"/>
              </a:cxn>
              <a:cxn ang="0">
                <a:pos x="2" y="150"/>
              </a:cxn>
              <a:cxn ang="0">
                <a:pos x="0" y="129"/>
              </a:cxn>
              <a:cxn ang="0">
                <a:pos x="50" y="66"/>
              </a:cxn>
              <a:cxn ang="0">
                <a:pos x="71" y="36"/>
              </a:cxn>
              <a:cxn ang="0">
                <a:pos x="80" y="22"/>
              </a:cxn>
              <a:cxn ang="0">
                <a:pos x="85" y="6"/>
              </a:cxn>
              <a:cxn ang="0">
                <a:pos x="123" y="10"/>
              </a:cxn>
              <a:cxn ang="0">
                <a:pos x="153" y="18"/>
              </a:cxn>
              <a:cxn ang="0">
                <a:pos x="180" y="27"/>
              </a:cxn>
              <a:cxn ang="0">
                <a:pos x="205" y="31"/>
              </a:cxn>
              <a:cxn ang="0">
                <a:pos x="214" y="29"/>
              </a:cxn>
              <a:cxn ang="0">
                <a:pos x="221" y="26"/>
              </a:cxn>
              <a:cxn ang="0">
                <a:pos x="232" y="15"/>
              </a:cxn>
              <a:cxn ang="0">
                <a:pos x="242" y="5"/>
              </a:cxn>
              <a:cxn ang="0">
                <a:pos x="250" y="2"/>
              </a:cxn>
              <a:cxn ang="0">
                <a:pos x="259" y="0"/>
              </a:cxn>
              <a:cxn ang="0">
                <a:pos x="275" y="2"/>
              </a:cxn>
              <a:cxn ang="0">
                <a:pos x="289" y="7"/>
              </a:cxn>
              <a:cxn ang="0">
                <a:pos x="302" y="15"/>
              </a:cxn>
              <a:cxn ang="0">
                <a:pos x="310" y="26"/>
              </a:cxn>
              <a:cxn ang="0">
                <a:pos x="325" y="53"/>
              </a:cxn>
              <a:cxn ang="0">
                <a:pos x="337" y="82"/>
              </a:cxn>
              <a:cxn ang="0">
                <a:pos x="349" y="113"/>
              </a:cxn>
              <a:cxn ang="0">
                <a:pos x="356" y="126"/>
              </a:cxn>
              <a:cxn ang="0">
                <a:pos x="365" y="138"/>
              </a:cxn>
              <a:cxn ang="0">
                <a:pos x="376" y="147"/>
              </a:cxn>
              <a:cxn ang="0">
                <a:pos x="389" y="156"/>
              </a:cxn>
              <a:cxn ang="0">
                <a:pos x="405" y="160"/>
              </a:cxn>
              <a:cxn ang="0">
                <a:pos x="425" y="161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0" y="19"/>
              </a:cxn>
              <a:cxn ang="0">
                <a:pos x="5" y="21"/>
              </a:cxn>
              <a:cxn ang="0">
                <a:pos x="14" y="25"/>
              </a:cxn>
              <a:cxn ang="0">
                <a:pos x="19" y="27"/>
              </a:cxn>
              <a:cxn ang="0">
                <a:pos x="23" y="29"/>
              </a:cxn>
              <a:cxn ang="0">
                <a:pos x="27" y="30"/>
              </a:cxn>
              <a:cxn ang="0">
                <a:pos x="33" y="31"/>
              </a:cxn>
              <a:cxn ang="0">
                <a:pos x="33" y="0"/>
              </a:cxn>
              <a:cxn ang="0">
                <a:pos x="20" y="0"/>
              </a:cxn>
              <a:cxn ang="0">
                <a:pos x="13" y="6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/>
            <a:ahLst/>
            <a:cxnLst>
              <a:cxn ang="0">
                <a:pos x="6" y="19"/>
              </a:cxn>
              <a:cxn ang="0">
                <a:pos x="52" y="0"/>
              </a:cxn>
              <a:cxn ang="0">
                <a:pos x="92" y="19"/>
              </a:cxn>
              <a:cxn ang="0">
                <a:pos x="119" y="31"/>
              </a:cxn>
              <a:cxn ang="0">
                <a:pos x="146" y="63"/>
              </a:cxn>
              <a:cxn ang="0">
                <a:pos x="166" y="93"/>
              </a:cxn>
              <a:cxn ang="0">
                <a:pos x="192" y="118"/>
              </a:cxn>
              <a:cxn ang="0">
                <a:pos x="152" y="124"/>
              </a:cxn>
              <a:cxn ang="0">
                <a:pos x="126" y="130"/>
              </a:cxn>
              <a:cxn ang="0">
                <a:pos x="126" y="154"/>
              </a:cxn>
              <a:cxn ang="0">
                <a:pos x="106" y="154"/>
              </a:cxn>
              <a:cxn ang="0">
                <a:pos x="99" y="146"/>
              </a:cxn>
              <a:cxn ang="0">
                <a:pos x="93" y="137"/>
              </a:cxn>
              <a:cxn ang="0">
                <a:pos x="88" y="126"/>
              </a:cxn>
              <a:cxn ang="0">
                <a:pos x="82" y="115"/>
              </a:cxn>
              <a:cxn ang="0">
                <a:pos x="74" y="93"/>
              </a:cxn>
              <a:cxn ang="0">
                <a:pos x="65" y="71"/>
              </a:cxn>
              <a:cxn ang="0">
                <a:pos x="60" y="61"/>
              </a:cxn>
              <a:cxn ang="0">
                <a:pos x="55" y="50"/>
              </a:cxn>
              <a:cxn ang="0">
                <a:pos x="48" y="42"/>
              </a:cxn>
              <a:cxn ang="0">
                <a:pos x="41" y="34"/>
              </a:cxn>
              <a:cxn ang="0">
                <a:pos x="33" y="28"/>
              </a:cxn>
              <a:cxn ang="0">
                <a:pos x="24" y="23"/>
              </a:cxn>
              <a:cxn ang="0">
                <a:pos x="18" y="22"/>
              </a:cxn>
              <a:cxn ang="0">
                <a:pos x="12" y="20"/>
              </a:cxn>
              <a:cxn ang="0">
                <a:pos x="6" y="20"/>
              </a:cxn>
              <a:cxn ang="0">
                <a:pos x="0" y="19"/>
              </a:cxn>
              <a:cxn ang="0">
                <a:pos x="6" y="19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/>
            <a:ahLst/>
            <a:cxnLst>
              <a:cxn ang="0">
                <a:pos x="392" y="340"/>
              </a:cxn>
              <a:cxn ang="0">
                <a:pos x="319" y="253"/>
              </a:cxn>
              <a:cxn ang="0">
                <a:pos x="206" y="241"/>
              </a:cxn>
              <a:cxn ang="0">
                <a:pos x="191" y="243"/>
              </a:cxn>
              <a:cxn ang="0">
                <a:pos x="178" y="251"/>
              </a:cxn>
              <a:cxn ang="0">
                <a:pos x="162" y="267"/>
              </a:cxn>
              <a:cxn ang="0">
                <a:pos x="151" y="271"/>
              </a:cxn>
              <a:cxn ang="0">
                <a:pos x="121" y="268"/>
              </a:cxn>
              <a:cxn ang="0">
                <a:pos x="79" y="255"/>
              </a:cxn>
              <a:cxn ang="0">
                <a:pos x="26" y="247"/>
              </a:cxn>
              <a:cxn ang="0">
                <a:pos x="8" y="212"/>
              </a:cxn>
              <a:cxn ang="0">
                <a:pos x="13" y="187"/>
              </a:cxn>
              <a:cxn ang="0">
                <a:pos x="13" y="180"/>
              </a:cxn>
              <a:cxn ang="0">
                <a:pos x="23" y="144"/>
              </a:cxn>
              <a:cxn ang="0">
                <a:pos x="44" y="112"/>
              </a:cxn>
              <a:cxn ang="0">
                <a:pos x="54" y="92"/>
              </a:cxn>
              <a:cxn ang="0">
                <a:pos x="26" y="50"/>
              </a:cxn>
              <a:cxn ang="0">
                <a:pos x="173" y="26"/>
              </a:cxn>
              <a:cxn ang="0">
                <a:pos x="339" y="50"/>
              </a:cxn>
              <a:cxn ang="0">
                <a:pos x="392" y="13"/>
              </a:cxn>
              <a:cxn ang="0">
                <a:pos x="485" y="0"/>
              </a:cxn>
              <a:cxn ang="0">
                <a:pos x="579" y="38"/>
              </a:cxn>
              <a:cxn ang="0">
                <a:pos x="638" y="111"/>
              </a:cxn>
              <a:cxn ang="0">
                <a:pos x="725" y="111"/>
              </a:cxn>
              <a:cxn ang="0">
                <a:pos x="838" y="155"/>
              </a:cxn>
              <a:cxn ang="0">
                <a:pos x="864" y="235"/>
              </a:cxn>
              <a:cxn ang="0">
                <a:pos x="804" y="272"/>
              </a:cxn>
              <a:cxn ang="0">
                <a:pos x="754" y="313"/>
              </a:cxn>
              <a:cxn ang="0">
                <a:pos x="688" y="330"/>
              </a:cxn>
              <a:cxn ang="0">
                <a:pos x="663" y="343"/>
              </a:cxn>
              <a:cxn ang="0">
                <a:pos x="648" y="358"/>
              </a:cxn>
              <a:cxn ang="0">
                <a:pos x="646" y="375"/>
              </a:cxn>
              <a:cxn ang="0">
                <a:pos x="653" y="390"/>
              </a:cxn>
              <a:cxn ang="0">
                <a:pos x="666" y="401"/>
              </a:cxn>
              <a:cxn ang="0">
                <a:pos x="711" y="396"/>
              </a:cxn>
              <a:cxn ang="0">
                <a:pos x="741" y="394"/>
              </a:cxn>
              <a:cxn ang="0">
                <a:pos x="734" y="403"/>
              </a:cxn>
              <a:cxn ang="0">
                <a:pos x="716" y="421"/>
              </a:cxn>
              <a:cxn ang="0">
                <a:pos x="698" y="438"/>
              </a:cxn>
              <a:cxn ang="0">
                <a:pos x="689" y="419"/>
              </a:cxn>
              <a:cxn ang="0">
                <a:pos x="671" y="408"/>
              </a:cxn>
              <a:cxn ang="0">
                <a:pos x="666" y="423"/>
              </a:cxn>
              <a:cxn ang="0">
                <a:pos x="643" y="442"/>
              </a:cxn>
              <a:cxn ang="0">
                <a:pos x="619" y="460"/>
              </a:cxn>
              <a:cxn ang="0">
                <a:pos x="611" y="469"/>
              </a:cxn>
              <a:cxn ang="0">
                <a:pos x="595" y="464"/>
              </a:cxn>
              <a:cxn ang="0">
                <a:pos x="584" y="455"/>
              </a:cxn>
              <a:cxn ang="0">
                <a:pos x="575" y="439"/>
              </a:cxn>
              <a:cxn ang="0">
                <a:pos x="572" y="408"/>
              </a:cxn>
              <a:cxn ang="0">
                <a:pos x="548" y="404"/>
              </a:cxn>
              <a:cxn ang="0">
                <a:pos x="518" y="389"/>
              </a:cxn>
              <a:cxn ang="0">
                <a:pos x="559" y="379"/>
              </a:cxn>
              <a:cxn ang="0">
                <a:pos x="625" y="370"/>
              </a:cxn>
              <a:cxn ang="0">
                <a:pos x="493" y="354"/>
              </a:cxn>
              <a:cxn ang="0">
                <a:pos x="445" y="333"/>
              </a:cxn>
              <a:cxn ang="0">
                <a:pos x="398" y="369"/>
              </a:cxn>
              <a:cxn ang="0">
                <a:pos x="380" y="395"/>
              </a:cxn>
              <a:cxn ang="0">
                <a:pos x="353" y="400"/>
              </a:cxn>
              <a:cxn ang="0">
                <a:pos x="328" y="392"/>
              </a:cxn>
              <a:cxn ang="0">
                <a:pos x="306" y="376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81" y="31"/>
              </a:cxn>
              <a:cxn ang="0">
                <a:pos x="94" y="67"/>
              </a:cxn>
              <a:cxn ang="0">
                <a:pos x="107" y="86"/>
              </a:cxn>
              <a:cxn ang="0">
                <a:pos x="107" y="117"/>
              </a:cxn>
              <a:cxn ang="0">
                <a:pos x="107" y="123"/>
              </a:cxn>
              <a:cxn ang="0">
                <a:pos x="88" y="114"/>
              </a:cxn>
              <a:cxn ang="0">
                <a:pos x="73" y="105"/>
              </a:cxn>
              <a:cxn ang="0">
                <a:pos x="61" y="98"/>
              </a:cxn>
              <a:cxn ang="0">
                <a:pos x="54" y="92"/>
              </a:cxn>
              <a:cxn ang="0">
                <a:pos x="51" y="83"/>
              </a:cxn>
              <a:cxn ang="0">
                <a:pos x="48" y="73"/>
              </a:cxn>
              <a:cxn ang="0">
                <a:pos x="39" y="74"/>
              </a:cxn>
              <a:cxn ang="0">
                <a:pos x="32" y="73"/>
              </a:cxn>
              <a:cxn ang="0">
                <a:pos x="26" y="72"/>
              </a:cxn>
              <a:cxn ang="0">
                <a:pos x="21" y="70"/>
              </a:cxn>
              <a:cxn ang="0">
                <a:pos x="17" y="67"/>
              </a:cxn>
              <a:cxn ang="0">
                <a:pos x="14" y="63"/>
              </a:cxn>
              <a:cxn ang="0">
                <a:pos x="11" y="59"/>
              </a:cxn>
              <a:cxn ang="0">
                <a:pos x="9" y="54"/>
              </a:cxn>
              <a:cxn ang="0">
                <a:pos x="4" y="31"/>
              </a:cxn>
              <a:cxn ang="0">
                <a:pos x="0" y="6"/>
              </a:cxn>
              <a:cxn ang="0">
                <a:pos x="34" y="0"/>
              </a:cxn>
              <a:cxn ang="0">
                <a:pos x="48" y="0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/>
            <a:ahLst/>
            <a:cxnLst>
              <a:cxn ang="0">
                <a:pos x="106" y="67"/>
              </a:cxn>
              <a:cxn ang="0">
                <a:pos x="166" y="86"/>
              </a:cxn>
              <a:cxn ang="0">
                <a:pos x="272" y="105"/>
              </a:cxn>
              <a:cxn ang="0">
                <a:pos x="372" y="86"/>
              </a:cxn>
              <a:cxn ang="0">
                <a:pos x="383" y="95"/>
              </a:cxn>
              <a:cxn ang="0">
                <a:pos x="391" y="114"/>
              </a:cxn>
              <a:cxn ang="0">
                <a:pos x="406" y="124"/>
              </a:cxn>
              <a:cxn ang="0">
                <a:pos x="424" y="129"/>
              </a:cxn>
              <a:cxn ang="0">
                <a:pos x="433" y="134"/>
              </a:cxn>
              <a:cxn ang="0">
                <a:pos x="441" y="141"/>
              </a:cxn>
              <a:cxn ang="0">
                <a:pos x="448" y="151"/>
              </a:cxn>
              <a:cxn ang="0">
                <a:pos x="455" y="170"/>
              </a:cxn>
              <a:cxn ang="0">
                <a:pos x="471" y="190"/>
              </a:cxn>
              <a:cxn ang="0">
                <a:pos x="350" y="202"/>
              </a:cxn>
              <a:cxn ang="0">
                <a:pos x="330" y="224"/>
              </a:cxn>
              <a:cxn ang="0">
                <a:pos x="317" y="233"/>
              </a:cxn>
              <a:cxn ang="0">
                <a:pos x="306" y="233"/>
              </a:cxn>
              <a:cxn ang="0">
                <a:pos x="298" y="230"/>
              </a:cxn>
              <a:cxn ang="0">
                <a:pos x="292" y="224"/>
              </a:cxn>
              <a:cxn ang="0">
                <a:pos x="289" y="216"/>
              </a:cxn>
              <a:cxn ang="0">
                <a:pos x="284" y="199"/>
              </a:cxn>
              <a:cxn ang="0">
                <a:pos x="278" y="174"/>
              </a:cxn>
              <a:cxn ang="0">
                <a:pos x="269" y="155"/>
              </a:cxn>
              <a:cxn ang="0">
                <a:pos x="258" y="148"/>
              </a:cxn>
              <a:cxn ang="0">
                <a:pos x="246" y="141"/>
              </a:cxn>
              <a:cxn ang="0">
                <a:pos x="236" y="133"/>
              </a:cxn>
              <a:cxn ang="0">
                <a:pos x="224" y="140"/>
              </a:cxn>
              <a:cxn ang="0">
                <a:pos x="207" y="162"/>
              </a:cxn>
              <a:cxn ang="0">
                <a:pos x="200" y="177"/>
              </a:cxn>
              <a:cxn ang="0">
                <a:pos x="188" y="190"/>
              </a:cxn>
              <a:cxn ang="0">
                <a:pos x="167" y="201"/>
              </a:cxn>
              <a:cxn ang="0">
                <a:pos x="147" y="213"/>
              </a:cxn>
              <a:cxn ang="0">
                <a:pos x="130" y="219"/>
              </a:cxn>
              <a:cxn ang="0">
                <a:pos x="114" y="222"/>
              </a:cxn>
              <a:cxn ang="0">
                <a:pos x="97" y="221"/>
              </a:cxn>
              <a:cxn ang="0">
                <a:pos x="82" y="217"/>
              </a:cxn>
              <a:cxn ang="0">
                <a:pos x="63" y="205"/>
              </a:cxn>
              <a:cxn ang="0">
                <a:pos x="59" y="197"/>
              </a:cxn>
              <a:cxn ang="0">
                <a:pos x="59" y="135"/>
              </a:cxn>
              <a:cxn ang="0">
                <a:pos x="0" y="98"/>
              </a:cxn>
              <a:cxn ang="0">
                <a:pos x="53" y="80"/>
              </a:cxn>
              <a:cxn ang="0">
                <a:pos x="86" y="30"/>
              </a:cxn>
              <a:cxn ang="0">
                <a:pos x="133" y="0"/>
              </a:cxn>
              <a:cxn ang="0">
                <a:pos x="166" y="42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/>
            <a:ahLst/>
            <a:cxnLst>
              <a:cxn ang="0">
                <a:pos x="106" y="185"/>
              </a:cxn>
              <a:cxn ang="0">
                <a:pos x="173" y="148"/>
              </a:cxn>
              <a:cxn ang="0">
                <a:pos x="93" y="105"/>
              </a:cxn>
              <a:cxn ang="0">
                <a:pos x="47" y="117"/>
              </a:cxn>
              <a:cxn ang="0">
                <a:pos x="66" y="61"/>
              </a:cxn>
              <a:cxn ang="0">
                <a:pos x="40" y="43"/>
              </a:cxn>
              <a:cxn ang="0">
                <a:pos x="112" y="25"/>
              </a:cxn>
              <a:cxn ang="0">
                <a:pos x="186" y="0"/>
              </a:cxn>
              <a:cxn ang="0">
                <a:pos x="312" y="19"/>
              </a:cxn>
              <a:cxn ang="0">
                <a:pos x="439" y="25"/>
              </a:cxn>
              <a:cxn ang="0">
                <a:pos x="525" y="55"/>
              </a:cxn>
              <a:cxn ang="0">
                <a:pos x="519" y="69"/>
              </a:cxn>
              <a:cxn ang="0">
                <a:pos x="510" y="82"/>
              </a:cxn>
              <a:cxn ang="0">
                <a:pos x="499" y="92"/>
              </a:cxn>
              <a:cxn ang="0">
                <a:pos x="485" y="99"/>
              </a:cxn>
              <a:cxn ang="0">
                <a:pos x="442" y="103"/>
              </a:cxn>
              <a:cxn ang="0">
                <a:pos x="418" y="107"/>
              </a:cxn>
              <a:cxn ang="0">
                <a:pos x="407" y="111"/>
              </a:cxn>
              <a:cxn ang="0">
                <a:pos x="399" y="117"/>
              </a:cxn>
              <a:cxn ang="0">
                <a:pos x="387" y="136"/>
              </a:cxn>
              <a:cxn ang="0">
                <a:pos x="378" y="147"/>
              </a:cxn>
              <a:cxn ang="0">
                <a:pos x="365" y="154"/>
              </a:cxn>
              <a:cxn ang="0">
                <a:pos x="305" y="166"/>
              </a:cxn>
              <a:cxn ang="0">
                <a:pos x="273" y="173"/>
              </a:cxn>
              <a:cxn ang="0">
                <a:pos x="260" y="178"/>
              </a:cxn>
              <a:cxn ang="0">
                <a:pos x="261" y="192"/>
              </a:cxn>
              <a:cxn ang="0">
                <a:pos x="263" y="203"/>
              </a:cxn>
              <a:cxn ang="0">
                <a:pos x="273" y="222"/>
              </a:cxn>
              <a:cxn ang="0">
                <a:pos x="219" y="228"/>
              </a:cxn>
              <a:cxn ang="0">
                <a:pos x="112" y="234"/>
              </a:cxn>
              <a:cxn ang="0">
                <a:pos x="20" y="222"/>
              </a:cxn>
              <a:cxn ang="0">
                <a:pos x="53" y="166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/>
            <a:ahLst/>
            <a:cxnLst>
              <a:cxn ang="0">
                <a:pos x="768" y="292"/>
              </a:cxn>
              <a:cxn ang="0">
                <a:pos x="751" y="293"/>
              </a:cxn>
              <a:cxn ang="0">
                <a:pos x="731" y="302"/>
              </a:cxn>
              <a:cxn ang="0">
                <a:pos x="723" y="308"/>
              </a:cxn>
              <a:cxn ang="0">
                <a:pos x="717" y="332"/>
              </a:cxn>
              <a:cxn ang="0">
                <a:pos x="713" y="360"/>
              </a:cxn>
              <a:cxn ang="0">
                <a:pos x="704" y="376"/>
              </a:cxn>
              <a:cxn ang="0">
                <a:pos x="671" y="402"/>
              </a:cxn>
              <a:cxn ang="0">
                <a:pos x="633" y="420"/>
              </a:cxn>
              <a:cxn ang="0">
                <a:pos x="612" y="424"/>
              </a:cxn>
              <a:cxn ang="0">
                <a:pos x="587" y="429"/>
              </a:cxn>
              <a:cxn ang="0">
                <a:pos x="567" y="428"/>
              </a:cxn>
              <a:cxn ang="0">
                <a:pos x="545" y="388"/>
              </a:cxn>
              <a:cxn ang="0">
                <a:pos x="515" y="344"/>
              </a:cxn>
              <a:cxn ang="0">
                <a:pos x="478" y="334"/>
              </a:cxn>
              <a:cxn ang="0">
                <a:pos x="448" y="315"/>
              </a:cxn>
              <a:cxn ang="0">
                <a:pos x="417" y="294"/>
              </a:cxn>
              <a:cxn ang="0">
                <a:pos x="373" y="274"/>
              </a:cxn>
              <a:cxn ang="0">
                <a:pos x="306" y="258"/>
              </a:cxn>
              <a:cxn ang="0">
                <a:pos x="182" y="283"/>
              </a:cxn>
              <a:cxn ang="0">
                <a:pos x="151" y="306"/>
              </a:cxn>
              <a:cxn ang="0">
                <a:pos x="127" y="308"/>
              </a:cxn>
              <a:cxn ang="0">
                <a:pos x="66" y="252"/>
              </a:cxn>
              <a:cxn ang="0">
                <a:pos x="66" y="204"/>
              </a:cxn>
              <a:cxn ang="0">
                <a:pos x="40" y="179"/>
              </a:cxn>
              <a:cxn ang="0">
                <a:pos x="42" y="199"/>
              </a:cxn>
              <a:cxn ang="0">
                <a:pos x="36" y="218"/>
              </a:cxn>
              <a:cxn ang="0">
                <a:pos x="30" y="221"/>
              </a:cxn>
              <a:cxn ang="0">
                <a:pos x="31" y="203"/>
              </a:cxn>
              <a:cxn ang="0">
                <a:pos x="27" y="174"/>
              </a:cxn>
              <a:cxn ang="0">
                <a:pos x="33" y="163"/>
              </a:cxn>
              <a:cxn ang="0">
                <a:pos x="40" y="152"/>
              </a:cxn>
              <a:cxn ang="0">
                <a:pos x="27" y="129"/>
              </a:cxn>
              <a:cxn ang="0">
                <a:pos x="7" y="126"/>
              </a:cxn>
              <a:cxn ang="0">
                <a:pos x="0" y="117"/>
              </a:cxn>
              <a:cxn ang="0">
                <a:pos x="3" y="104"/>
              </a:cxn>
              <a:cxn ang="0">
                <a:pos x="11" y="94"/>
              </a:cxn>
              <a:cxn ang="0">
                <a:pos x="27" y="92"/>
              </a:cxn>
              <a:cxn ang="0">
                <a:pos x="41" y="99"/>
              </a:cxn>
              <a:cxn ang="0">
                <a:pos x="57" y="104"/>
              </a:cxn>
              <a:cxn ang="0">
                <a:pos x="71" y="92"/>
              </a:cxn>
              <a:cxn ang="0">
                <a:pos x="83" y="77"/>
              </a:cxn>
              <a:cxn ang="0">
                <a:pos x="87" y="64"/>
              </a:cxn>
              <a:cxn ang="0">
                <a:pos x="78" y="55"/>
              </a:cxn>
              <a:cxn ang="0">
                <a:pos x="55" y="49"/>
              </a:cxn>
              <a:cxn ang="0">
                <a:pos x="47" y="40"/>
              </a:cxn>
              <a:cxn ang="0">
                <a:pos x="41" y="28"/>
              </a:cxn>
              <a:cxn ang="0">
                <a:pos x="107" y="43"/>
              </a:cxn>
              <a:cxn ang="0">
                <a:pos x="219" y="74"/>
              </a:cxn>
              <a:cxn ang="0">
                <a:pos x="273" y="0"/>
              </a:cxn>
              <a:cxn ang="0">
                <a:pos x="373" y="43"/>
              </a:cxn>
              <a:cxn ang="0">
                <a:pos x="465" y="92"/>
              </a:cxn>
              <a:cxn ang="0">
                <a:pos x="591" y="210"/>
              </a:cxn>
              <a:cxn ang="0">
                <a:pos x="724" y="265"/>
              </a:cxn>
              <a:cxn ang="0">
                <a:pos x="778" y="295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/>
            <a:ahLst/>
            <a:cxnLst>
              <a:cxn ang="0">
                <a:pos x="30" y="27"/>
              </a:cxn>
              <a:cxn ang="0">
                <a:pos x="28" y="24"/>
              </a:cxn>
              <a:cxn ang="0">
                <a:pos x="24" y="17"/>
              </a:cxn>
              <a:cxn ang="0">
                <a:pos x="35" y="5"/>
              </a:cxn>
              <a:cxn ang="0">
                <a:pos x="67" y="1"/>
              </a:cxn>
              <a:cxn ang="0">
                <a:pos x="126" y="12"/>
              </a:cxn>
              <a:cxn ang="0">
                <a:pos x="131" y="30"/>
              </a:cxn>
              <a:cxn ang="0">
                <a:pos x="139" y="46"/>
              </a:cxn>
              <a:cxn ang="0">
                <a:pos x="151" y="57"/>
              </a:cxn>
              <a:cxn ang="0">
                <a:pos x="165" y="67"/>
              </a:cxn>
              <a:cxn ang="0">
                <a:pos x="191" y="87"/>
              </a:cxn>
              <a:cxn ang="0">
                <a:pos x="203" y="101"/>
              </a:cxn>
              <a:cxn ang="0">
                <a:pos x="212" y="117"/>
              </a:cxn>
              <a:cxn ang="0">
                <a:pos x="226" y="117"/>
              </a:cxn>
              <a:cxn ang="0">
                <a:pos x="221" y="124"/>
              </a:cxn>
              <a:cxn ang="0">
                <a:pos x="221" y="129"/>
              </a:cxn>
              <a:cxn ang="0">
                <a:pos x="228" y="140"/>
              </a:cxn>
              <a:cxn ang="0">
                <a:pos x="239" y="154"/>
              </a:cxn>
              <a:cxn ang="0">
                <a:pos x="244" y="162"/>
              </a:cxn>
              <a:cxn ang="0">
                <a:pos x="246" y="173"/>
              </a:cxn>
              <a:cxn ang="0">
                <a:pos x="241" y="184"/>
              </a:cxn>
              <a:cxn ang="0">
                <a:pos x="233" y="192"/>
              </a:cxn>
              <a:cxn ang="0">
                <a:pos x="223" y="198"/>
              </a:cxn>
              <a:cxn ang="0">
                <a:pos x="220" y="204"/>
              </a:cxn>
              <a:cxn ang="0">
                <a:pos x="189" y="215"/>
              </a:cxn>
              <a:cxn ang="0">
                <a:pos x="164" y="230"/>
              </a:cxn>
              <a:cxn ang="0">
                <a:pos x="113" y="265"/>
              </a:cxn>
              <a:cxn ang="0">
                <a:pos x="88" y="231"/>
              </a:cxn>
              <a:cxn ang="0">
                <a:pos x="79" y="220"/>
              </a:cxn>
              <a:cxn ang="0">
                <a:pos x="72" y="216"/>
              </a:cxn>
              <a:cxn ang="0">
                <a:pos x="60" y="217"/>
              </a:cxn>
              <a:cxn ang="0">
                <a:pos x="54" y="221"/>
              </a:cxn>
              <a:cxn ang="0">
                <a:pos x="49" y="228"/>
              </a:cxn>
              <a:cxn ang="0">
                <a:pos x="48" y="236"/>
              </a:cxn>
              <a:cxn ang="0">
                <a:pos x="45" y="257"/>
              </a:cxn>
              <a:cxn ang="0">
                <a:pos x="41" y="270"/>
              </a:cxn>
              <a:cxn ang="0">
                <a:pos x="33" y="284"/>
              </a:cxn>
              <a:cxn ang="0">
                <a:pos x="26" y="243"/>
              </a:cxn>
              <a:cxn ang="0">
                <a:pos x="17" y="227"/>
              </a:cxn>
              <a:cxn ang="0">
                <a:pos x="11" y="221"/>
              </a:cxn>
              <a:cxn ang="0">
                <a:pos x="0" y="216"/>
              </a:cxn>
              <a:cxn ang="0">
                <a:pos x="1" y="204"/>
              </a:cxn>
              <a:cxn ang="0">
                <a:pos x="4" y="193"/>
              </a:cxn>
              <a:cxn ang="0">
                <a:pos x="15" y="176"/>
              </a:cxn>
              <a:cxn ang="0">
                <a:pos x="31" y="161"/>
              </a:cxn>
              <a:cxn ang="0">
                <a:pos x="46" y="141"/>
              </a:cxn>
              <a:cxn ang="0">
                <a:pos x="33" y="44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9"/>
              </a:cxn>
              <a:cxn ang="0">
                <a:pos x="114" y="18"/>
              </a:cxn>
              <a:cxn ang="0">
                <a:pos x="115" y="25"/>
              </a:cxn>
              <a:cxn ang="0">
                <a:pos x="117" y="32"/>
              </a:cxn>
              <a:cxn ang="0">
                <a:pos x="119" y="34"/>
              </a:cxn>
              <a:cxn ang="0">
                <a:pos x="121" y="37"/>
              </a:cxn>
              <a:cxn ang="0">
                <a:pos x="123" y="38"/>
              </a:cxn>
              <a:cxn ang="0">
                <a:pos x="127" y="39"/>
              </a:cxn>
              <a:cxn ang="0">
                <a:pos x="131" y="40"/>
              </a:cxn>
              <a:cxn ang="0">
                <a:pos x="135" y="39"/>
              </a:cxn>
              <a:cxn ang="0">
                <a:pos x="140" y="38"/>
              </a:cxn>
              <a:cxn ang="0">
                <a:pos x="146" y="36"/>
              </a:cxn>
              <a:cxn ang="0">
                <a:pos x="149" y="43"/>
              </a:cxn>
              <a:cxn ang="0">
                <a:pos x="153" y="52"/>
              </a:cxn>
              <a:cxn ang="0">
                <a:pos x="157" y="64"/>
              </a:cxn>
              <a:cxn ang="0">
                <a:pos x="160" y="74"/>
              </a:cxn>
              <a:cxn ang="0">
                <a:pos x="133" y="88"/>
              </a:cxn>
              <a:cxn ang="0">
                <a:pos x="106" y="102"/>
              </a:cxn>
              <a:cxn ang="0">
                <a:pos x="92" y="107"/>
              </a:cxn>
              <a:cxn ang="0">
                <a:pos x="76" y="113"/>
              </a:cxn>
              <a:cxn ang="0">
                <a:pos x="62" y="116"/>
              </a:cxn>
              <a:cxn ang="0">
                <a:pos x="47" y="117"/>
              </a:cxn>
              <a:cxn ang="0">
                <a:pos x="32" y="99"/>
              </a:cxn>
              <a:cxn ang="0">
                <a:pos x="21" y="83"/>
              </a:cxn>
              <a:cxn ang="0">
                <a:pos x="10" y="69"/>
              </a:cxn>
              <a:cxn ang="0">
                <a:pos x="0" y="55"/>
              </a:cxn>
              <a:cxn ang="0">
                <a:pos x="13" y="48"/>
              </a:cxn>
              <a:cxn ang="0">
                <a:pos x="41" y="32"/>
              </a:cxn>
              <a:cxn ang="0">
                <a:pos x="60" y="23"/>
              </a:cxn>
              <a:cxn ang="0">
                <a:pos x="78" y="14"/>
              </a:cxn>
              <a:cxn ang="0">
                <a:pos x="97" y="6"/>
              </a:cxn>
              <a:cxn ang="0">
                <a:pos x="114" y="0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/>
            <a:ahLst/>
            <a:cxnLst>
              <a:cxn ang="0">
                <a:pos x="98" y="62"/>
              </a:cxn>
              <a:cxn ang="0">
                <a:pos x="112" y="56"/>
              </a:cxn>
              <a:cxn ang="0">
                <a:pos x="129" y="69"/>
              </a:cxn>
              <a:cxn ang="0">
                <a:pos x="149" y="85"/>
              </a:cxn>
              <a:cxn ang="0">
                <a:pos x="171" y="92"/>
              </a:cxn>
              <a:cxn ang="0">
                <a:pos x="215" y="88"/>
              </a:cxn>
              <a:cxn ang="0">
                <a:pos x="257" y="82"/>
              </a:cxn>
              <a:cxn ang="0">
                <a:pos x="291" y="79"/>
              </a:cxn>
              <a:cxn ang="0">
                <a:pos x="301" y="74"/>
              </a:cxn>
              <a:cxn ang="0">
                <a:pos x="301" y="68"/>
              </a:cxn>
              <a:cxn ang="0">
                <a:pos x="355" y="63"/>
              </a:cxn>
              <a:cxn ang="0">
                <a:pos x="434" y="45"/>
              </a:cxn>
              <a:cxn ang="0">
                <a:pos x="479" y="28"/>
              </a:cxn>
              <a:cxn ang="0">
                <a:pos x="514" y="8"/>
              </a:cxn>
              <a:cxn ang="0">
                <a:pos x="547" y="31"/>
              </a:cxn>
              <a:cxn ang="0">
                <a:pos x="555" y="57"/>
              </a:cxn>
              <a:cxn ang="0">
                <a:pos x="552" y="113"/>
              </a:cxn>
              <a:cxn ang="0">
                <a:pos x="532" y="174"/>
              </a:cxn>
              <a:cxn ang="0">
                <a:pos x="502" y="231"/>
              </a:cxn>
              <a:cxn ang="0">
                <a:pos x="447" y="321"/>
              </a:cxn>
              <a:cxn ang="0">
                <a:pos x="423" y="375"/>
              </a:cxn>
              <a:cxn ang="0">
                <a:pos x="410" y="415"/>
              </a:cxn>
              <a:cxn ang="0">
                <a:pos x="379" y="473"/>
              </a:cxn>
              <a:cxn ang="0">
                <a:pos x="330" y="531"/>
              </a:cxn>
              <a:cxn ang="0">
                <a:pos x="288" y="566"/>
              </a:cxn>
              <a:cxn ang="0">
                <a:pos x="239" y="600"/>
              </a:cxn>
              <a:cxn ang="0">
                <a:pos x="168" y="651"/>
              </a:cxn>
              <a:cxn ang="0">
                <a:pos x="143" y="680"/>
              </a:cxn>
              <a:cxn ang="0">
                <a:pos x="131" y="700"/>
              </a:cxn>
              <a:cxn ang="0">
                <a:pos x="116" y="717"/>
              </a:cxn>
              <a:cxn ang="0">
                <a:pos x="71" y="745"/>
              </a:cxn>
              <a:cxn ang="0">
                <a:pos x="19" y="801"/>
              </a:cxn>
              <a:cxn ang="0">
                <a:pos x="2" y="564"/>
              </a:cxn>
              <a:cxn ang="0">
                <a:pos x="3" y="554"/>
              </a:cxn>
              <a:cxn ang="0">
                <a:pos x="27" y="533"/>
              </a:cxn>
              <a:cxn ang="0">
                <a:pos x="42" y="516"/>
              </a:cxn>
              <a:cxn ang="0">
                <a:pos x="60" y="497"/>
              </a:cxn>
              <a:cxn ang="0">
                <a:pos x="111" y="480"/>
              </a:cxn>
              <a:cxn ang="0">
                <a:pos x="119" y="470"/>
              </a:cxn>
              <a:cxn ang="0">
                <a:pos x="129" y="452"/>
              </a:cxn>
              <a:cxn ang="0">
                <a:pos x="152" y="440"/>
              </a:cxn>
              <a:cxn ang="0">
                <a:pos x="174" y="439"/>
              </a:cxn>
              <a:cxn ang="0">
                <a:pos x="196" y="439"/>
              </a:cxn>
              <a:cxn ang="0">
                <a:pos x="228" y="429"/>
              </a:cxn>
              <a:cxn ang="0">
                <a:pos x="251" y="405"/>
              </a:cxn>
              <a:cxn ang="0">
                <a:pos x="265" y="379"/>
              </a:cxn>
              <a:cxn ang="0">
                <a:pos x="296" y="347"/>
              </a:cxn>
              <a:cxn ang="0">
                <a:pos x="354" y="293"/>
              </a:cxn>
              <a:cxn ang="0">
                <a:pos x="377" y="266"/>
              </a:cxn>
              <a:cxn ang="0">
                <a:pos x="324" y="246"/>
              </a:cxn>
              <a:cxn ang="0">
                <a:pos x="257" y="228"/>
              </a:cxn>
              <a:cxn ang="0">
                <a:pos x="184" y="209"/>
              </a:cxn>
              <a:cxn ang="0">
                <a:pos x="149" y="187"/>
              </a:cxn>
              <a:cxn ang="0">
                <a:pos x="112" y="154"/>
              </a:cxn>
              <a:cxn ang="0">
                <a:pos x="89" y="121"/>
              </a:cxn>
              <a:cxn ang="0">
                <a:pos x="77" y="80"/>
              </a:cxn>
              <a:cxn ang="0">
                <a:pos x="65" y="87"/>
              </a:cxn>
              <a:cxn ang="0">
                <a:pos x="84" y="68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6" y="2"/>
              </a:cxn>
              <a:cxn ang="0">
                <a:pos x="52" y="3"/>
              </a:cxn>
              <a:cxn ang="0">
                <a:pos x="46" y="3"/>
              </a:cxn>
              <a:cxn ang="0">
                <a:pos x="40" y="3"/>
              </a:cxn>
              <a:cxn ang="0">
                <a:pos x="33" y="3"/>
              </a:cxn>
              <a:cxn ang="0">
                <a:pos x="27" y="3"/>
              </a:cxn>
              <a:cxn ang="0">
                <a:pos x="23" y="4"/>
              </a:cxn>
              <a:cxn ang="0">
                <a:pos x="20" y="6"/>
              </a:cxn>
              <a:cxn ang="0">
                <a:pos x="16" y="9"/>
              </a:cxn>
              <a:cxn ang="0">
                <a:pos x="13" y="12"/>
              </a:cxn>
              <a:cxn ang="0">
                <a:pos x="11" y="15"/>
              </a:cxn>
              <a:cxn ang="0">
                <a:pos x="8" y="20"/>
              </a:cxn>
              <a:cxn ang="0">
                <a:pos x="4" y="29"/>
              </a:cxn>
              <a:cxn ang="0">
                <a:pos x="2" y="38"/>
              </a:cxn>
              <a:cxn ang="0">
                <a:pos x="0" y="57"/>
              </a:cxn>
              <a:cxn ang="0">
                <a:pos x="0" y="75"/>
              </a:cxn>
              <a:cxn ang="0">
                <a:pos x="0" y="81"/>
              </a:cxn>
              <a:cxn ang="0">
                <a:pos x="1" y="86"/>
              </a:cxn>
              <a:cxn ang="0">
                <a:pos x="3" y="90"/>
              </a:cxn>
              <a:cxn ang="0">
                <a:pos x="7" y="93"/>
              </a:cxn>
              <a:cxn ang="0">
                <a:pos x="10" y="95"/>
              </a:cxn>
              <a:cxn ang="0">
                <a:pos x="13" y="96"/>
              </a:cxn>
              <a:cxn ang="0">
                <a:pos x="18" y="97"/>
              </a:cxn>
              <a:cxn ang="0">
                <a:pos x="21" y="97"/>
              </a:cxn>
              <a:cxn ang="0">
                <a:pos x="40" y="95"/>
              </a:cxn>
              <a:cxn ang="0">
                <a:pos x="53" y="93"/>
              </a:cxn>
              <a:cxn ang="0">
                <a:pos x="86" y="68"/>
              </a:cxn>
              <a:cxn ang="0">
                <a:pos x="59" y="0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/>
            <a:ahLst/>
            <a:cxnLst>
              <a:cxn ang="0">
                <a:pos x="182" y="36"/>
              </a:cxn>
              <a:cxn ang="0">
                <a:pos x="205" y="28"/>
              </a:cxn>
              <a:cxn ang="0">
                <a:pos x="247" y="0"/>
              </a:cxn>
              <a:cxn ang="0">
                <a:pos x="273" y="12"/>
              </a:cxn>
              <a:cxn ang="0">
                <a:pos x="327" y="37"/>
              </a:cxn>
              <a:cxn ang="0">
                <a:pos x="380" y="67"/>
              </a:cxn>
              <a:cxn ang="0">
                <a:pos x="426" y="98"/>
              </a:cxn>
              <a:cxn ang="0">
                <a:pos x="442" y="125"/>
              </a:cxn>
              <a:cxn ang="0">
                <a:pos x="443" y="140"/>
              </a:cxn>
              <a:cxn ang="0">
                <a:pos x="458" y="147"/>
              </a:cxn>
              <a:cxn ang="0">
                <a:pos x="499" y="178"/>
              </a:cxn>
              <a:cxn ang="0">
                <a:pos x="506" y="172"/>
              </a:cxn>
              <a:cxn ang="0">
                <a:pos x="488" y="184"/>
              </a:cxn>
              <a:cxn ang="0">
                <a:pos x="481" y="202"/>
              </a:cxn>
              <a:cxn ang="0">
                <a:pos x="481" y="252"/>
              </a:cxn>
              <a:cxn ang="0">
                <a:pos x="493" y="264"/>
              </a:cxn>
              <a:cxn ang="0">
                <a:pos x="526" y="265"/>
              </a:cxn>
              <a:cxn ang="0">
                <a:pos x="545" y="319"/>
              </a:cxn>
              <a:cxn ang="0">
                <a:pos x="583" y="361"/>
              </a:cxn>
              <a:cxn ang="0">
                <a:pos x="645" y="400"/>
              </a:cxn>
              <a:cxn ang="0">
                <a:pos x="738" y="430"/>
              </a:cxn>
              <a:cxn ang="0">
                <a:pos x="845" y="449"/>
              </a:cxn>
              <a:cxn ang="0">
                <a:pos x="811" y="482"/>
              </a:cxn>
              <a:cxn ang="0">
                <a:pos x="731" y="547"/>
              </a:cxn>
              <a:cxn ang="0">
                <a:pos x="712" y="579"/>
              </a:cxn>
              <a:cxn ang="0">
                <a:pos x="697" y="617"/>
              </a:cxn>
              <a:cxn ang="0">
                <a:pos x="674" y="629"/>
              </a:cxn>
              <a:cxn ang="0">
                <a:pos x="580" y="655"/>
              </a:cxn>
              <a:cxn ang="0">
                <a:pos x="559" y="671"/>
              </a:cxn>
              <a:cxn ang="0">
                <a:pos x="525" y="681"/>
              </a:cxn>
              <a:cxn ang="0">
                <a:pos x="482" y="693"/>
              </a:cxn>
              <a:cxn ang="0">
                <a:pos x="461" y="680"/>
              </a:cxn>
              <a:cxn ang="0">
                <a:pos x="427" y="679"/>
              </a:cxn>
              <a:cxn ang="0">
                <a:pos x="405" y="699"/>
              </a:cxn>
              <a:cxn ang="0">
                <a:pos x="390" y="714"/>
              </a:cxn>
              <a:cxn ang="0">
                <a:pos x="360" y="720"/>
              </a:cxn>
              <a:cxn ang="0">
                <a:pos x="318" y="714"/>
              </a:cxn>
              <a:cxn ang="0">
                <a:pos x="289" y="698"/>
              </a:cxn>
              <a:cxn ang="0">
                <a:pos x="246" y="671"/>
              </a:cxn>
              <a:cxn ang="0">
                <a:pos x="181" y="661"/>
              </a:cxn>
              <a:cxn ang="0">
                <a:pos x="140" y="653"/>
              </a:cxn>
              <a:cxn ang="0">
                <a:pos x="151" y="614"/>
              </a:cxn>
              <a:cxn ang="0">
                <a:pos x="127" y="596"/>
              </a:cxn>
              <a:cxn ang="0">
                <a:pos x="108" y="583"/>
              </a:cxn>
              <a:cxn ang="0">
                <a:pos x="93" y="551"/>
              </a:cxn>
              <a:cxn ang="0">
                <a:pos x="77" y="511"/>
              </a:cxn>
              <a:cxn ang="0">
                <a:pos x="49" y="489"/>
              </a:cxn>
              <a:cxn ang="0">
                <a:pos x="16" y="477"/>
              </a:cxn>
              <a:cxn ang="0">
                <a:pos x="5" y="472"/>
              </a:cxn>
              <a:cxn ang="0">
                <a:pos x="2" y="448"/>
              </a:cxn>
              <a:cxn ang="0">
                <a:pos x="21" y="422"/>
              </a:cxn>
              <a:cxn ang="0">
                <a:pos x="55" y="413"/>
              </a:cxn>
              <a:cxn ang="0">
                <a:pos x="67" y="321"/>
              </a:cxn>
              <a:cxn ang="0">
                <a:pos x="82" y="275"/>
              </a:cxn>
              <a:cxn ang="0">
                <a:pos x="95" y="260"/>
              </a:cxn>
              <a:cxn ang="0">
                <a:pos x="103" y="236"/>
              </a:cxn>
              <a:cxn ang="0">
                <a:pos x="116" y="206"/>
              </a:cxn>
              <a:cxn ang="0">
                <a:pos x="148" y="178"/>
              </a:cxn>
              <a:cxn ang="0">
                <a:pos x="167" y="160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"/>
              </a:cxn>
              <a:cxn ang="0">
                <a:pos x="15" y="3"/>
              </a:cxn>
              <a:cxn ang="0">
                <a:pos x="23" y="5"/>
              </a:cxn>
              <a:cxn ang="0">
                <a:pos x="33" y="6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/>
            <a:ahLst/>
            <a:cxnLst>
              <a:cxn ang="0">
                <a:pos x="13" y="30"/>
              </a:cxn>
              <a:cxn ang="0">
                <a:pos x="13" y="0"/>
              </a:cxn>
              <a:cxn ang="0">
                <a:pos x="0" y="0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1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/>
              <a:ahLst/>
              <a:cxnLst>
                <a:cxn ang="0">
                  <a:pos x="312" y="79"/>
                </a:cxn>
                <a:cxn ang="0">
                  <a:pos x="286" y="79"/>
                </a:cxn>
                <a:cxn ang="0">
                  <a:pos x="265" y="79"/>
                </a:cxn>
                <a:cxn ang="0">
                  <a:pos x="249" y="74"/>
                </a:cxn>
                <a:cxn ang="0">
                  <a:pos x="222" y="59"/>
                </a:cxn>
                <a:cxn ang="0">
                  <a:pos x="168" y="20"/>
                </a:cxn>
                <a:cxn ang="0">
                  <a:pos x="137" y="6"/>
                </a:cxn>
                <a:cxn ang="0">
                  <a:pos x="129" y="19"/>
                </a:cxn>
                <a:cxn ang="0">
                  <a:pos x="119" y="29"/>
                </a:cxn>
                <a:cxn ang="0">
                  <a:pos x="107" y="35"/>
                </a:cxn>
                <a:cxn ang="0">
                  <a:pos x="86" y="56"/>
                </a:cxn>
                <a:cxn ang="0">
                  <a:pos x="53" y="97"/>
                </a:cxn>
                <a:cxn ang="0">
                  <a:pos x="30" y="131"/>
                </a:cxn>
                <a:cxn ang="0">
                  <a:pos x="17" y="154"/>
                </a:cxn>
                <a:cxn ang="0">
                  <a:pos x="7" y="177"/>
                </a:cxn>
                <a:cxn ang="0">
                  <a:pos x="0" y="198"/>
                </a:cxn>
                <a:cxn ang="0">
                  <a:pos x="0" y="213"/>
                </a:cxn>
                <a:cxn ang="0">
                  <a:pos x="3" y="222"/>
                </a:cxn>
                <a:cxn ang="0">
                  <a:pos x="9" y="231"/>
                </a:cxn>
                <a:cxn ang="0">
                  <a:pos x="24" y="241"/>
                </a:cxn>
                <a:cxn ang="0">
                  <a:pos x="39" y="245"/>
                </a:cxn>
                <a:cxn ang="0">
                  <a:pos x="52" y="245"/>
                </a:cxn>
                <a:cxn ang="0">
                  <a:pos x="63" y="241"/>
                </a:cxn>
                <a:cxn ang="0">
                  <a:pos x="73" y="236"/>
                </a:cxn>
                <a:cxn ang="0">
                  <a:pos x="78" y="236"/>
                </a:cxn>
                <a:cxn ang="0">
                  <a:pos x="80" y="238"/>
                </a:cxn>
                <a:cxn ang="0">
                  <a:pos x="80" y="257"/>
                </a:cxn>
                <a:cxn ang="0">
                  <a:pos x="76" y="279"/>
                </a:cxn>
                <a:cxn ang="0">
                  <a:pos x="71" y="290"/>
                </a:cxn>
                <a:cxn ang="0">
                  <a:pos x="73" y="307"/>
                </a:cxn>
                <a:cxn ang="0">
                  <a:pos x="80" y="331"/>
                </a:cxn>
                <a:cxn ang="0">
                  <a:pos x="89" y="351"/>
                </a:cxn>
                <a:cxn ang="0">
                  <a:pos x="122" y="373"/>
                </a:cxn>
                <a:cxn ang="0">
                  <a:pos x="142" y="385"/>
                </a:cxn>
                <a:cxn ang="0">
                  <a:pos x="152" y="386"/>
                </a:cxn>
                <a:cxn ang="0">
                  <a:pos x="163" y="377"/>
                </a:cxn>
                <a:cxn ang="0">
                  <a:pos x="173" y="363"/>
                </a:cxn>
                <a:cxn ang="0">
                  <a:pos x="178" y="350"/>
                </a:cxn>
                <a:cxn ang="0">
                  <a:pos x="181" y="338"/>
                </a:cxn>
                <a:cxn ang="0">
                  <a:pos x="184" y="323"/>
                </a:cxn>
                <a:cxn ang="0">
                  <a:pos x="195" y="304"/>
                </a:cxn>
                <a:cxn ang="0">
                  <a:pos x="216" y="281"/>
                </a:cxn>
                <a:cxn ang="0">
                  <a:pos x="238" y="263"/>
                </a:cxn>
                <a:cxn ang="0">
                  <a:pos x="264" y="249"/>
                </a:cxn>
                <a:cxn ang="0">
                  <a:pos x="300" y="229"/>
                </a:cxn>
                <a:cxn ang="0">
                  <a:pos x="324" y="212"/>
                </a:cxn>
                <a:cxn ang="0">
                  <a:pos x="338" y="199"/>
                </a:cxn>
                <a:cxn ang="0">
                  <a:pos x="346" y="185"/>
                </a:cxn>
                <a:cxn ang="0">
                  <a:pos x="352" y="169"/>
                </a:cxn>
                <a:cxn ang="0">
                  <a:pos x="351" y="149"/>
                </a:cxn>
                <a:cxn ang="0">
                  <a:pos x="344" y="125"/>
                </a:cxn>
                <a:cxn ang="0">
                  <a:pos x="330" y="91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0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45" y="17"/>
                </a:cxn>
                <a:cxn ang="0">
                  <a:pos x="47" y="21"/>
                </a:cxn>
                <a:cxn ang="0">
                  <a:pos x="48" y="24"/>
                </a:cxn>
                <a:cxn ang="0">
                  <a:pos x="51" y="34"/>
                </a:cxn>
                <a:cxn ang="0">
                  <a:pos x="52" y="41"/>
                </a:cxn>
                <a:cxn ang="0">
                  <a:pos x="51" y="46"/>
                </a:cxn>
                <a:cxn ang="0">
                  <a:pos x="49" y="50"/>
                </a:cxn>
                <a:cxn ang="0">
                  <a:pos x="47" y="54"/>
                </a:cxn>
                <a:cxn ang="0">
                  <a:pos x="44" y="60"/>
                </a:cxn>
                <a:cxn ang="0">
                  <a:pos x="41" y="65"/>
                </a:cxn>
                <a:cxn ang="0">
                  <a:pos x="41" y="73"/>
                </a:cxn>
                <a:cxn ang="0">
                  <a:pos x="29" y="75"/>
                </a:cxn>
                <a:cxn ang="0">
                  <a:pos x="16" y="78"/>
                </a:cxn>
                <a:cxn ang="0">
                  <a:pos x="11" y="78"/>
                </a:cxn>
                <a:cxn ang="0">
                  <a:pos x="5" y="78"/>
                </a:cxn>
                <a:cxn ang="0">
                  <a:pos x="4" y="78"/>
                </a:cxn>
                <a:cxn ang="0">
                  <a:pos x="2" y="77"/>
                </a:cxn>
                <a:cxn ang="0">
                  <a:pos x="2" y="75"/>
                </a:cxn>
                <a:cxn ang="0">
                  <a:pos x="1" y="73"/>
                </a:cxn>
                <a:cxn ang="0">
                  <a:pos x="0" y="69"/>
                </a:cxn>
                <a:cxn ang="0">
                  <a:pos x="1" y="64"/>
                </a:cxn>
                <a:cxn ang="0">
                  <a:pos x="3" y="60"/>
                </a:cxn>
                <a:cxn ang="0">
                  <a:pos x="7" y="56"/>
                </a:cxn>
                <a:cxn ang="0">
                  <a:pos x="17" y="47"/>
                </a:cxn>
                <a:cxn ang="0">
                  <a:pos x="28" y="42"/>
                </a:cxn>
                <a:cxn ang="0">
                  <a:pos x="24" y="32"/>
                </a:cxn>
                <a:cxn ang="0">
                  <a:pos x="21" y="21"/>
                </a:cxn>
                <a:cxn ang="0">
                  <a:pos x="18" y="10"/>
                </a:cxn>
                <a:cxn ang="0">
                  <a:pos x="14" y="0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24"/>
                </a:cxn>
                <a:cxn ang="0">
                  <a:pos x="7" y="25"/>
                </a:cxn>
                <a:cxn ang="0">
                  <a:pos x="15" y="27"/>
                </a:cxn>
                <a:cxn ang="0">
                  <a:pos x="23" y="29"/>
                </a:cxn>
                <a:cxn ang="0">
                  <a:pos x="33" y="30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5" y="0"/>
              </a:cxn>
              <a:cxn ang="0">
                <a:pos x="31" y="2"/>
              </a:cxn>
              <a:cxn ang="0">
                <a:pos x="33" y="4"/>
              </a:cxn>
              <a:cxn ang="0">
                <a:pos x="33" y="6"/>
              </a:cxn>
              <a:cxn ang="0">
                <a:pos x="32" y="8"/>
              </a:cxn>
              <a:cxn ang="0">
                <a:pos x="33" y="10"/>
              </a:cxn>
              <a:cxn ang="0">
                <a:pos x="37" y="12"/>
              </a:cxn>
              <a:cxn ang="0">
                <a:pos x="47" y="12"/>
              </a:cxn>
              <a:cxn ang="0">
                <a:pos x="42" y="19"/>
              </a:cxn>
              <a:cxn ang="0">
                <a:pos x="37" y="25"/>
              </a:cxn>
              <a:cxn ang="0">
                <a:pos x="33" y="27"/>
              </a:cxn>
              <a:cxn ang="0">
                <a:pos x="28" y="28"/>
              </a:cxn>
              <a:cxn ang="0">
                <a:pos x="16" y="27"/>
              </a:cxn>
              <a:cxn ang="0">
                <a:pos x="0" y="25"/>
              </a:cxn>
              <a:cxn ang="0">
                <a:pos x="1" y="19"/>
              </a:cxn>
              <a:cxn ang="0">
                <a:pos x="2" y="15"/>
              </a:cxn>
              <a:cxn ang="0">
                <a:pos x="4" y="13"/>
              </a:cxn>
              <a:cxn ang="0">
                <a:pos x="6" y="12"/>
              </a:cxn>
              <a:cxn ang="0">
                <a:pos x="9" y="11"/>
              </a:cxn>
              <a:cxn ang="0">
                <a:pos x="11" y="9"/>
              </a:cxn>
              <a:cxn ang="0">
                <a:pos x="13" y="5"/>
              </a:cxn>
              <a:cxn ang="0">
                <a:pos x="13" y="0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6" y="1"/>
              </a:cxn>
              <a:cxn ang="0">
                <a:pos x="34" y="1"/>
              </a:cxn>
              <a:cxn ang="0">
                <a:pos x="37" y="3"/>
              </a:cxn>
              <a:cxn ang="0">
                <a:pos x="37" y="4"/>
              </a:cxn>
              <a:cxn ang="0">
                <a:pos x="37" y="6"/>
              </a:cxn>
              <a:cxn ang="0">
                <a:pos x="39" y="8"/>
              </a:cxn>
              <a:cxn ang="0">
                <a:pos x="44" y="10"/>
              </a:cxn>
              <a:cxn ang="0">
                <a:pos x="53" y="12"/>
              </a:cxn>
              <a:cxn ang="0">
                <a:pos x="48" y="22"/>
              </a:cxn>
              <a:cxn ang="0">
                <a:pos x="44" y="28"/>
              </a:cxn>
              <a:cxn ang="0">
                <a:pos x="42" y="31"/>
              </a:cxn>
              <a:cxn ang="0">
                <a:pos x="38" y="32"/>
              </a:cxn>
              <a:cxn ang="0">
                <a:pos x="36" y="33"/>
              </a:cxn>
              <a:cxn ang="0">
                <a:pos x="34" y="33"/>
              </a:cxn>
              <a:cxn ang="0">
                <a:pos x="20" y="30"/>
              </a:cxn>
              <a:cxn ang="0">
                <a:pos x="0" y="24"/>
              </a:cxn>
              <a:cxn ang="0">
                <a:pos x="0" y="19"/>
              </a:cxn>
              <a:cxn ang="0">
                <a:pos x="2" y="16"/>
              </a:cxn>
              <a:cxn ang="0">
                <a:pos x="4" y="14"/>
              </a:cxn>
              <a:cxn ang="0">
                <a:pos x="7" y="12"/>
              </a:cxn>
              <a:cxn ang="0">
                <a:pos x="9" y="11"/>
              </a:cxn>
              <a:cxn ang="0">
                <a:pos x="11" y="9"/>
              </a:cxn>
              <a:cxn ang="0">
                <a:pos x="12" y="6"/>
              </a:cxn>
              <a:cxn ang="0">
                <a:pos x="13" y="0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2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0" y="0"/>
                </a:cxn>
                <a:cxn ang="0">
                  <a:pos x="14" y="19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0" y="9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3" y="3"/>
                </a:cxn>
                <a:cxn ang="0">
                  <a:pos x="8" y="1"/>
                </a:cxn>
                <a:cxn ang="0">
                  <a:pos x="13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4" y="6"/>
                </a:cxn>
                <a:cxn ang="0">
                  <a:pos x="0" y="0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  <a:cxn ang="0">
                  <a:pos x="17" y="12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0" y="6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/>
            <a:ahLst/>
            <a:cxnLst>
              <a:cxn ang="0">
                <a:pos x="60" y="685"/>
              </a:cxn>
              <a:cxn ang="0">
                <a:pos x="91" y="668"/>
              </a:cxn>
              <a:cxn ang="0">
                <a:pos x="126" y="668"/>
              </a:cxn>
              <a:cxn ang="0">
                <a:pos x="196" y="692"/>
              </a:cxn>
              <a:cxn ang="0">
                <a:pos x="245" y="705"/>
              </a:cxn>
              <a:cxn ang="0">
                <a:pos x="292" y="703"/>
              </a:cxn>
              <a:cxn ang="0">
                <a:pos x="611" y="717"/>
              </a:cxn>
              <a:cxn ang="0">
                <a:pos x="651" y="707"/>
              </a:cxn>
              <a:cxn ang="0">
                <a:pos x="627" y="657"/>
              </a:cxn>
              <a:cxn ang="0">
                <a:pos x="664" y="433"/>
              </a:cxn>
              <a:cxn ang="0">
                <a:pos x="709" y="429"/>
              </a:cxn>
              <a:cxn ang="0">
                <a:pos x="723" y="416"/>
              </a:cxn>
              <a:cxn ang="0">
                <a:pos x="734" y="360"/>
              </a:cxn>
              <a:cxn ang="0">
                <a:pos x="722" y="302"/>
              </a:cxn>
              <a:cxn ang="0">
                <a:pos x="708" y="304"/>
              </a:cxn>
              <a:cxn ang="0">
                <a:pos x="676" y="300"/>
              </a:cxn>
              <a:cxn ang="0">
                <a:pos x="634" y="299"/>
              </a:cxn>
              <a:cxn ang="0">
                <a:pos x="623" y="290"/>
              </a:cxn>
              <a:cxn ang="0">
                <a:pos x="617" y="253"/>
              </a:cxn>
              <a:cxn ang="0">
                <a:pos x="607" y="219"/>
              </a:cxn>
              <a:cxn ang="0">
                <a:pos x="597" y="186"/>
              </a:cxn>
              <a:cxn ang="0">
                <a:pos x="607" y="167"/>
              </a:cxn>
              <a:cxn ang="0">
                <a:pos x="617" y="148"/>
              </a:cxn>
              <a:cxn ang="0">
                <a:pos x="611" y="100"/>
              </a:cxn>
              <a:cxn ang="0">
                <a:pos x="544" y="70"/>
              </a:cxn>
              <a:cxn ang="0">
                <a:pos x="477" y="66"/>
              </a:cxn>
              <a:cxn ang="0">
                <a:pos x="471" y="81"/>
              </a:cxn>
              <a:cxn ang="0">
                <a:pos x="463" y="101"/>
              </a:cxn>
              <a:cxn ang="0">
                <a:pos x="440" y="122"/>
              </a:cxn>
              <a:cxn ang="0">
                <a:pos x="392" y="130"/>
              </a:cxn>
              <a:cxn ang="0">
                <a:pos x="364" y="115"/>
              </a:cxn>
              <a:cxn ang="0">
                <a:pos x="339" y="82"/>
              </a:cxn>
              <a:cxn ang="0">
                <a:pos x="319" y="39"/>
              </a:cxn>
              <a:cxn ang="0">
                <a:pos x="312" y="0"/>
              </a:cxn>
              <a:cxn ang="0">
                <a:pos x="30" y="15"/>
              </a:cxn>
              <a:cxn ang="0">
                <a:pos x="47" y="29"/>
              </a:cxn>
              <a:cxn ang="0">
                <a:pos x="75" y="75"/>
              </a:cxn>
              <a:cxn ang="0">
                <a:pos x="102" y="130"/>
              </a:cxn>
              <a:cxn ang="0">
                <a:pos x="103" y="171"/>
              </a:cxn>
              <a:cxn ang="0">
                <a:pos x="93" y="203"/>
              </a:cxn>
              <a:cxn ang="0">
                <a:pos x="96" y="229"/>
              </a:cxn>
              <a:cxn ang="0">
                <a:pos x="119" y="272"/>
              </a:cxn>
              <a:cxn ang="0">
                <a:pos x="131" y="307"/>
              </a:cxn>
              <a:cxn ang="0">
                <a:pos x="127" y="352"/>
              </a:cxn>
              <a:cxn ang="0">
                <a:pos x="106" y="403"/>
              </a:cxn>
              <a:cxn ang="0">
                <a:pos x="77" y="446"/>
              </a:cxn>
              <a:cxn ang="0">
                <a:pos x="41" y="477"/>
              </a:cxn>
              <a:cxn ang="0">
                <a:pos x="25" y="591"/>
              </a:cxn>
              <a:cxn ang="0">
                <a:pos x="11" y="62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12" y="28"/>
              </a:cxn>
              <a:cxn ang="0">
                <a:pos x="22" y="28"/>
              </a:cxn>
              <a:cxn ang="0">
                <a:pos x="26" y="28"/>
              </a:cxn>
              <a:cxn ang="0">
                <a:pos x="30" y="28"/>
              </a:cxn>
              <a:cxn ang="0">
                <a:pos x="35" y="27"/>
              </a:cxn>
              <a:cxn ang="0">
                <a:pos x="39" y="25"/>
              </a:cxn>
              <a:cxn ang="0">
                <a:pos x="39" y="0"/>
              </a:cxn>
              <a:cxn ang="0">
                <a:pos x="26" y="0"/>
              </a:cxn>
              <a:cxn ang="0">
                <a:pos x="17" y="0"/>
              </a:cxn>
              <a:cxn ang="0">
                <a:pos x="8" y="0"/>
              </a:cxn>
              <a:cxn ang="0">
                <a:pos x="0" y="0"/>
              </a:cxn>
              <a:cxn ang="0">
                <a:pos x="0" y="31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/>
            <a:ahLst/>
            <a:cxnLst>
              <a:cxn ang="0">
                <a:pos x="899" y="291"/>
              </a:cxn>
              <a:cxn ang="0">
                <a:pos x="863" y="388"/>
              </a:cxn>
              <a:cxn ang="0">
                <a:pos x="832" y="414"/>
              </a:cxn>
              <a:cxn ang="0">
                <a:pos x="761" y="507"/>
              </a:cxn>
              <a:cxn ang="0">
                <a:pos x="720" y="561"/>
              </a:cxn>
              <a:cxn ang="0">
                <a:pos x="647" y="613"/>
              </a:cxn>
              <a:cxn ang="0">
                <a:pos x="583" y="666"/>
              </a:cxn>
              <a:cxn ang="0">
                <a:pos x="557" y="698"/>
              </a:cxn>
              <a:cxn ang="0">
                <a:pos x="520" y="705"/>
              </a:cxn>
              <a:cxn ang="0">
                <a:pos x="496" y="710"/>
              </a:cxn>
              <a:cxn ang="0">
                <a:pos x="485" y="727"/>
              </a:cxn>
              <a:cxn ang="0">
                <a:pos x="372" y="727"/>
              </a:cxn>
              <a:cxn ang="0">
                <a:pos x="339" y="732"/>
              </a:cxn>
              <a:cxn ang="0">
                <a:pos x="316" y="732"/>
              </a:cxn>
              <a:cxn ang="0">
                <a:pos x="286" y="727"/>
              </a:cxn>
              <a:cxn ang="0">
                <a:pos x="263" y="737"/>
              </a:cxn>
              <a:cxn ang="0">
                <a:pos x="146" y="759"/>
              </a:cxn>
              <a:cxn ang="0">
                <a:pos x="116" y="753"/>
              </a:cxn>
              <a:cxn ang="0">
                <a:pos x="90" y="739"/>
              </a:cxn>
              <a:cxn ang="0">
                <a:pos x="76" y="719"/>
              </a:cxn>
              <a:cxn ang="0">
                <a:pos x="79" y="697"/>
              </a:cxn>
              <a:cxn ang="0">
                <a:pos x="75" y="628"/>
              </a:cxn>
              <a:cxn ang="0">
                <a:pos x="79" y="608"/>
              </a:cxn>
              <a:cxn ang="0">
                <a:pos x="68" y="572"/>
              </a:cxn>
              <a:cxn ang="0">
                <a:pos x="22" y="516"/>
              </a:cxn>
              <a:cxn ang="0">
                <a:pos x="12" y="484"/>
              </a:cxn>
              <a:cxn ang="0">
                <a:pos x="10" y="439"/>
              </a:cxn>
              <a:cxn ang="0">
                <a:pos x="0" y="377"/>
              </a:cxn>
              <a:cxn ang="0">
                <a:pos x="39" y="377"/>
              </a:cxn>
              <a:cxn ang="0">
                <a:pos x="57" y="396"/>
              </a:cxn>
              <a:cxn ang="0">
                <a:pos x="94" y="410"/>
              </a:cxn>
              <a:cxn ang="0">
                <a:pos x="135" y="411"/>
              </a:cxn>
              <a:cxn ang="0">
                <a:pos x="160" y="400"/>
              </a:cxn>
              <a:cxn ang="0">
                <a:pos x="182" y="372"/>
              </a:cxn>
              <a:cxn ang="0">
                <a:pos x="197" y="229"/>
              </a:cxn>
              <a:cxn ang="0">
                <a:pos x="204" y="184"/>
              </a:cxn>
              <a:cxn ang="0">
                <a:pos x="210" y="168"/>
              </a:cxn>
              <a:cxn ang="0">
                <a:pos x="239" y="178"/>
              </a:cxn>
              <a:cxn ang="0">
                <a:pos x="245" y="238"/>
              </a:cxn>
              <a:cxn ang="0">
                <a:pos x="247" y="274"/>
              </a:cxn>
              <a:cxn ang="0">
                <a:pos x="256" y="287"/>
              </a:cxn>
              <a:cxn ang="0">
                <a:pos x="287" y="295"/>
              </a:cxn>
              <a:cxn ang="0">
                <a:pos x="312" y="293"/>
              </a:cxn>
              <a:cxn ang="0">
                <a:pos x="333" y="272"/>
              </a:cxn>
              <a:cxn ang="0">
                <a:pos x="350" y="234"/>
              </a:cxn>
              <a:cxn ang="0">
                <a:pos x="368" y="201"/>
              </a:cxn>
              <a:cxn ang="0">
                <a:pos x="387" y="191"/>
              </a:cxn>
              <a:cxn ang="0">
                <a:pos x="414" y="193"/>
              </a:cxn>
              <a:cxn ang="0">
                <a:pos x="451" y="208"/>
              </a:cxn>
              <a:cxn ang="0">
                <a:pos x="478" y="216"/>
              </a:cxn>
              <a:cxn ang="0">
                <a:pos x="512" y="213"/>
              </a:cxn>
              <a:cxn ang="0">
                <a:pos x="531" y="200"/>
              </a:cxn>
              <a:cxn ang="0">
                <a:pos x="564" y="127"/>
              </a:cxn>
              <a:cxn ang="0">
                <a:pos x="620" y="80"/>
              </a:cxn>
              <a:cxn ang="0">
                <a:pos x="732" y="11"/>
              </a:cxn>
              <a:cxn ang="0">
                <a:pos x="806" y="3"/>
              </a:cxn>
              <a:cxn ang="0">
                <a:pos x="830" y="6"/>
              </a:cxn>
              <a:cxn ang="0">
                <a:pos x="854" y="35"/>
              </a:cxn>
              <a:cxn ang="0">
                <a:pos x="873" y="71"/>
              </a:cxn>
              <a:cxn ang="0">
                <a:pos x="883" y="107"/>
              </a:cxn>
              <a:cxn ang="0">
                <a:pos x="868" y="207"/>
              </a:cxn>
              <a:cxn ang="0">
                <a:pos x="830" y="204"/>
              </a:cxn>
              <a:cxn ang="0">
                <a:pos x="826" y="281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5"/>
                </a:cxn>
                <a:cxn ang="0">
                  <a:pos x="4" y="28"/>
                </a:cxn>
                <a:cxn ang="0">
                  <a:pos x="10" y="33"/>
                </a:cxn>
                <a:cxn ang="0">
                  <a:pos x="35" y="25"/>
                </a:cxn>
                <a:cxn ang="0">
                  <a:pos x="48" y="15"/>
                </a:cxn>
                <a:cxn ang="0">
                  <a:pos x="51" y="8"/>
                </a:cxn>
                <a:cxn ang="0">
                  <a:pos x="46" y="0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/>
              <a:ahLst/>
              <a:cxnLst>
                <a:cxn ang="0">
                  <a:pos x="61" y="6"/>
                </a:cxn>
                <a:cxn ang="0">
                  <a:pos x="53" y="2"/>
                </a:cxn>
                <a:cxn ang="0">
                  <a:pos x="0" y="0"/>
                </a:cxn>
                <a:cxn ang="0">
                  <a:pos x="2" y="14"/>
                </a:cxn>
                <a:cxn ang="0">
                  <a:pos x="7" y="20"/>
                </a:cxn>
                <a:cxn ang="0">
                  <a:pos x="18" y="13"/>
                </a:cxn>
                <a:cxn ang="0">
                  <a:pos x="61" y="6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0"/>
                </a:cxn>
                <a:cxn ang="0">
                  <a:pos x="0" y="36"/>
                </a:cxn>
                <a:cxn ang="0">
                  <a:pos x="11" y="35"/>
                </a:cxn>
                <a:cxn ang="0">
                  <a:pos x="15" y="14"/>
                </a:cxn>
                <a:cxn ang="0">
                  <a:pos x="2" y="0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2" y="0"/>
                </a:cxn>
                <a:cxn ang="0">
                  <a:pos x="35" y="6"/>
                </a:cxn>
                <a:cxn ang="0">
                  <a:pos x="37" y="22"/>
                </a:cxn>
                <a:cxn ang="0">
                  <a:pos x="24" y="33"/>
                </a:cxn>
                <a:cxn ang="0">
                  <a:pos x="11" y="33"/>
                </a:cxn>
                <a:cxn ang="0">
                  <a:pos x="2" y="24"/>
                </a:cxn>
                <a:cxn ang="0">
                  <a:pos x="0" y="16"/>
                </a:cxn>
                <a:cxn ang="0">
                  <a:pos x="4" y="4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50"/>
                </a:cxn>
                <a:cxn ang="0">
                  <a:pos x="18" y="54"/>
                </a:cxn>
                <a:cxn ang="0">
                  <a:pos x="44" y="45"/>
                </a:cxn>
                <a:cxn ang="0">
                  <a:pos x="49" y="31"/>
                </a:cxn>
                <a:cxn ang="0">
                  <a:pos x="40" y="21"/>
                </a:cxn>
                <a:cxn ang="0">
                  <a:pos x="19" y="8"/>
                </a:cxn>
                <a:cxn ang="0">
                  <a:pos x="2" y="0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2"/>
                </a:cxn>
                <a:cxn ang="0">
                  <a:pos x="0" y="15"/>
                </a:cxn>
                <a:cxn ang="0">
                  <a:pos x="6" y="21"/>
                </a:cxn>
                <a:cxn ang="0">
                  <a:pos x="19" y="22"/>
                </a:cxn>
                <a:cxn ang="0">
                  <a:pos x="26" y="11"/>
                </a:cxn>
                <a:cxn ang="0">
                  <a:pos x="18" y="0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4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  <a:solidFill>
            <a:srgbClr val="00B050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46"/>
                </a:cxn>
                <a:cxn ang="0">
                  <a:pos x="13" y="50"/>
                </a:cxn>
                <a:cxn ang="0">
                  <a:pos x="23" y="53"/>
                </a:cxn>
                <a:cxn ang="0">
                  <a:pos x="32" y="54"/>
                </a:cxn>
                <a:cxn ang="0">
                  <a:pos x="38" y="54"/>
                </a:cxn>
                <a:cxn ang="0">
                  <a:pos x="45" y="53"/>
                </a:cxn>
                <a:cxn ang="0">
                  <a:pos x="50" y="51"/>
                </a:cxn>
                <a:cxn ang="0">
                  <a:pos x="56" y="49"/>
                </a:cxn>
                <a:cxn ang="0">
                  <a:pos x="67" y="42"/>
                </a:cxn>
                <a:cxn ang="0">
                  <a:pos x="75" y="35"/>
                </a:cxn>
                <a:cxn ang="0">
                  <a:pos x="84" y="28"/>
                </a:cxn>
                <a:cxn ang="0">
                  <a:pos x="91" y="20"/>
                </a:cxn>
                <a:cxn ang="0">
                  <a:pos x="95" y="12"/>
                </a:cxn>
                <a:cxn ang="0">
                  <a:pos x="98" y="4"/>
                </a:cxn>
                <a:cxn ang="0">
                  <a:pos x="91" y="2"/>
                </a:cxn>
                <a:cxn ang="0">
                  <a:pos x="83" y="0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59" y="1"/>
                </a:cxn>
                <a:cxn ang="0">
                  <a:pos x="51" y="3"/>
                </a:cxn>
                <a:cxn ang="0">
                  <a:pos x="43" y="6"/>
                </a:cxn>
                <a:cxn ang="0">
                  <a:pos x="37" y="9"/>
                </a:cxn>
                <a:cxn ang="0">
                  <a:pos x="23" y="17"/>
                </a:cxn>
                <a:cxn ang="0">
                  <a:pos x="12" y="25"/>
                </a:cxn>
                <a:cxn ang="0">
                  <a:pos x="7" y="29"/>
                </a:cxn>
                <a:cxn ang="0">
                  <a:pos x="4" y="33"/>
                </a:cxn>
                <a:cxn ang="0">
                  <a:pos x="1" y="37"/>
                </a:cxn>
                <a:cxn ang="0">
                  <a:pos x="0" y="41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8"/>
                </a:cxn>
                <a:cxn ang="0">
                  <a:pos x="21" y="27"/>
                </a:cxn>
                <a:cxn ang="0">
                  <a:pos x="31" y="25"/>
                </a:cxn>
                <a:cxn ang="0">
                  <a:pos x="41" y="21"/>
                </a:cxn>
                <a:cxn ang="0">
                  <a:pos x="49" y="17"/>
                </a:cxn>
                <a:cxn ang="0">
                  <a:pos x="57" y="12"/>
                </a:cxn>
                <a:cxn ang="0">
                  <a:pos x="63" y="7"/>
                </a:cxn>
                <a:cxn ang="0">
                  <a:pos x="67" y="3"/>
                </a:cxn>
                <a:cxn ang="0">
                  <a:pos x="57" y="1"/>
                </a:cxn>
                <a:cxn ang="0">
                  <a:pos x="46" y="0"/>
                </a:cxn>
                <a:cxn ang="0">
                  <a:pos x="36" y="1"/>
                </a:cxn>
                <a:cxn ang="0">
                  <a:pos x="26" y="3"/>
                </a:cxn>
                <a:cxn ang="0">
                  <a:pos x="17" y="7"/>
                </a:cxn>
                <a:cxn ang="0">
                  <a:pos x="10" y="12"/>
                </a:cxn>
                <a:cxn ang="0">
                  <a:pos x="7" y="15"/>
                </a:cxn>
                <a:cxn ang="0">
                  <a:pos x="4" y="19"/>
                </a:cxn>
                <a:cxn ang="0">
                  <a:pos x="2" y="22"/>
                </a:cxn>
                <a:cxn ang="0">
                  <a:pos x="0" y="2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24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1" y="36"/>
                </a:cxn>
                <a:cxn ang="0">
                  <a:pos x="13" y="36"/>
                </a:cxn>
                <a:cxn ang="0">
                  <a:pos x="32" y="36"/>
                </a:cxn>
                <a:cxn ang="0">
                  <a:pos x="32" y="22"/>
                </a:cxn>
                <a:cxn ang="0">
                  <a:pos x="31" y="14"/>
                </a:cxn>
                <a:cxn ang="0">
                  <a:pos x="30" y="7"/>
                </a:cxn>
                <a:cxn ang="0">
                  <a:pos x="26" y="0"/>
                </a:cxn>
                <a:cxn ang="0">
                  <a:pos x="19" y="2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0" y="18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1" y="46"/>
                </a:cxn>
                <a:cxn ang="0">
                  <a:pos x="22" y="48"/>
                </a:cxn>
                <a:cxn ang="0">
                  <a:pos x="33" y="51"/>
                </a:cxn>
                <a:cxn ang="0">
                  <a:pos x="43" y="52"/>
                </a:cxn>
                <a:cxn ang="0">
                  <a:pos x="63" y="52"/>
                </a:cxn>
                <a:cxn ang="0">
                  <a:pos x="82" y="51"/>
                </a:cxn>
                <a:cxn ang="0">
                  <a:pos x="117" y="46"/>
                </a:cxn>
                <a:cxn ang="0">
                  <a:pos x="146" y="43"/>
                </a:cxn>
                <a:cxn ang="0">
                  <a:pos x="144" y="36"/>
                </a:cxn>
                <a:cxn ang="0">
                  <a:pos x="142" y="30"/>
                </a:cxn>
                <a:cxn ang="0">
                  <a:pos x="139" y="24"/>
                </a:cxn>
                <a:cxn ang="0">
                  <a:pos x="137" y="19"/>
                </a:cxn>
                <a:cxn ang="0">
                  <a:pos x="134" y="15"/>
                </a:cxn>
                <a:cxn ang="0">
                  <a:pos x="129" y="11"/>
                </a:cxn>
                <a:cxn ang="0">
                  <a:pos x="125" y="8"/>
                </a:cxn>
                <a:cxn ang="0">
                  <a:pos x="121" y="6"/>
                </a:cxn>
                <a:cxn ang="0">
                  <a:pos x="111" y="2"/>
                </a:cxn>
                <a:cxn ang="0">
                  <a:pos x="101" y="0"/>
                </a:cxn>
                <a:cxn ang="0">
                  <a:pos x="89" y="1"/>
                </a:cxn>
                <a:cxn ang="0">
                  <a:pos x="78" y="2"/>
                </a:cxn>
                <a:cxn ang="0">
                  <a:pos x="66" y="5"/>
                </a:cxn>
                <a:cxn ang="0">
                  <a:pos x="54" y="9"/>
                </a:cxn>
                <a:cxn ang="0">
                  <a:pos x="43" y="14"/>
                </a:cxn>
                <a:cxn ang="0">
                  <a:pos x="32" y="19"/>
                </a:cxn>
                <a:cxn ang="0">
                  <a:pos x="22" y="25"/>
                </a:cxn>
                <a:cxn ang="0">
                  <a:pos x="13" y="31"/>
                </a:cxn>
                <a:cxn ang="0">
                  <a:pos x="5" y="37"/>
                </a:cxn>
                <a:cxn ang="0">
                  <a:pos x="0" y="43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0"/>
                </a:cxn>
                <a:cxn ang="0">
                  <a:pos x="38" y="0"/>
                </a:cxn>
                <a:cxn ang="0">
                  <a:pos x="31" y="0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9" y="2"/>
                </a:cxn>
                <a:cxn ang="0">
                  <a:pos x="5" y="3"/>
                </a:cxn>
                <a:cxn ang="0">
                  <a:pos x="2" y="5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12" y="27"/>
                </a:cxn>
                <a:cxn ang="0">
                  <a:pos x="18" y="29"/>
                </a:cxn>
                <a:cxn ang="0">
                  <a:pos x="22" y="31"/>
                </a:cxn>
                <a:cxn ang="0">
                  <a:pos x="27" y="31"/>
                </a:cxn>
                <a:cxn ang="0">
                  <a:pos x="32" y="30"/>
                </a:cxn>
                <a:cxn ang="0">
                  <a:pos x="37" y="28"/>
                </a:cxn>
                <a:cxn ang="0">
                  <a:pos x="43" y="24"/>
                </a:cxn>
                <a:cxn ang="0">
                  <a:pos x="48" y="18"/>
                </a:cxn>
                <a:cxn ang="0">
                  <a:pos x="57" y="10"/>
                </a:cxn>
                <a:cxn ang="0">
                  <a:pos x="60" y="6"/>
                </a:cxn>
                <a:cxn ang="0">
                  <a:pos x="60" y="0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46"/>
                </a:cxn>
                <a:cxn ang="0">
                  <a:pos x="1" y="49"/>
                </a:cxn>
                <a:cxn ang="0">
                  <a:pos x="3" y="51"/>
                </a:cxn>
                <a:cxn ang="0">
                  <a:pos x="4" y="53"/>
                </a:cxn>
                <a:cxn ang="0">
                  <a:pos x="10" y="57"/>
                </a:cxn>
                <a:cxn ang="0">
                  <a:pos x="15" y="59"/>
                </a:cxn>
                <a:cxn ang="0">
                  <a:pos x="28" y="62"/>
                </a:cxn>
                <a:cxn ang="0">
                  <a:pos x="40" y="62"/>
                </a:cxn>
                <a:cxn ang="0">
                  <a:pos x="45" y="62"/>
                </a:cxn>
                <a:cxn ang="0">
                  <a:pos x="49" y="59"/>
                </a:cxn>
                <a:cxn ang="0">
                  <a:pos x="54" y="57"/>
                </a:cxn>
                <a:cxn ang="0">
                  <a:pos x="58" y="54"/>
                </a:cxn>
                <a:cxn ang="0">
                  <a:pos x="65" y="47"/>
                </a:cxn>
                <a:cxn ang="0">
                  <a:pos x="70" y="38"/>
                </a:cxn>
                <a:cxn ang="0">
                  <a:pos x="74" y="28"/>
                </a:cxn>
                <a:cxn ang="0">
                  <a:pos x="78" y="18"/>
                </a:cxn>
                <a:cxn ang="0">
                  <a:pos x="79" y="8"/>
                </a:cxn>
                <a:cxn ang="0">
                  <a:pos x="80" y="0"/>
                </a:cxn>
                <a:cxn ang="0">
                  <a:pos x="71" y="0"/>
                </a:cxn>
                <a:cxn ang="0">
                  <a:pos x="59" y="3"/>
                </a:cxn>
                <a:cxn ang="0">
                  <a:pos x="46" y="8"/>
                </a:cxn>
                <a:cxn ang="0">
                  <a:pos x="33" y="13"/>
                </a:cxn>
                <a:cxn ang="0">
                  <a:pos x="21" y="19"/>
                </a:cxn>
                <a:cxn ang="0">
                  <a:pos x="10" y="26"/>
                </a:cxn>
                <a:cxn ang="0">
                  <a:pos x="6" y="30"/>
                </a:cxn>
                <a:cxn ang="0">
                  <a:pos x="3" y="34"/>
                </a:cxn>
                <a:cxn ang="0">
                  <a:pos x="1" y="39"/>
                </a:cxn>
                <a:cxn ang="0">
                  <a:pos x="0" y="43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/>
              <a:ahLst/>
              <a:cxnLst>
                <a:cxn ang="0">
                  <a:pos x="80" y="13"/>
                </a:cxn>
                <a:cxn ang="0">
                  <a:pos x="72" y="12"/>
                </a:cxn>
                <a:cxn ang="0">
                  <a:pos x="66" y="11"/>
                </a:cxn>
                <a:cxn ang="0">
                  <a:pos x="59" y="8"/>
                </a:cxn>
                <a:cxn ang="0">
                  <a:pos x="53" y="6"/>
                </a:cxn>
                <a:cxn ang="0">
                  <a:pos x="47" y="4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9" y="11"/>
                </a:cxn>
                <a:cxn ang="0">
                  <a:pos x="17" y="21"/>
                </a:cxn>
                <a:cxn ang="0">
                  <a:pos x="26" y="29"/>
                </a:cxn>
                <a:cxn ang="0">
                  <a:pos x="34" y="36"/>
                </a:cxn>
                <a:cxn ang="0">
                  <a:pos x="42" y="42"/>
                </a:cxn>
                <a:cxn ang="0">
                  <a:pos x="52" y="46"/>
                </a:cxn>
                <a:cxn ang="0">
                  <a:pos x="61" y="48"/>
                </a:cxn>
                <a:cxn ang="0">
                  <a:pos x="72" y="49"/>
                </a:cxn>
                <a:cxn ang="0">
                  <a:pos x="79" y="48"/>
                </a:cxn>
                <a:cxn ang="0">
                  <a:pos x="87" y="45"/>
                </a:cxn>
                <a:cxn ang="0">
                  <a:pos x="97" y="39"/>
                </a:cxn>
                <a:cxn ang="0">
                  <a:pos x="106" y="31"/>
                </a:cxn>
                <a:cxn ang="0">
                  <a:pos x="101" y="30"/>
                </a:cxn>
                <a:cxn ang="0">
                  <a:pos x="98" y="28"/>
                </a:cxn>
                <a:cxn ang="0">
                  <a:pos x="93" y="25"/>
                </a:cxn>
                <a:cxn ang="0">
                  <a:pos x="90" y="22"/>
                </a:cxn>
                <a:cxn ang="0">
                  <a:pos x="88" y="19"/>
                </a:cxn>
                <a:cxn ang="0">
                  <a:pos x="84" y="16"/>
                </a:cxn>
                <a:cxn ang="0">
                  <a:pos x="82" y="14"/>
                </a:cxn>
                <a:cxn ang="0">
                  <a:pos x="80" y="13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5" y="21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6" y="21"/>
                </a:cxn>
                <a:cxn ang="0">
                  <a:pos x="33" y="19"/>
                </a:cxn>
                <a:cxn ang="0">
                  <a:pos x="38" y="15"/>
                </a:cxn>
                <a:cxn ang="0">
                  <a:pos x="41" y="12"/>
                </a:cxn>
                <a:cxn ang="0">
                  <a:pos x="44" y="9"/>
                </a:cxn>
                <a:cxn ang="0">
                  <a:pos x="45" y="5"/>
                </a:cxn>
                <a:cxn ang="0">
                  <a:pos x="47" y="0"/>
                </a:cxn>
                <a:cxn ang="0">
                  <a:pos x="0" y="19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37" y="9"/>
                </a:cxn>
                <a:cxn ang="0">
                  <a:pos x="23" y="18"/>
                </a:cxn>
                <a:cxn ang="0">
                  <a:pos x="11" y="26"/>
                </a:cxn>
                <a:cxn ang="0">
                  <a:pos x="0" y="32"/>
                </a:cxn>
                <a:cxn ang="0">
                  <a:pos x="13" y="32"/>
                </a:cxn>
                <a:cxn ang="0">
                  <a:pos x="26" y="32"/>
                </a:cxn>
                <a:cxn ang="0">
                  <a:pos x="39" y="32"/>
                </a:cxn>
                <a:cxn ang="0">
                  <a:pos x="53" y="32"/>
                </a:cxn>
                <a:cxn ang="0">
                  <a:pos x="53" y="24"/>
                </a:cxn>
                <a:cxn ang="0">
                  <a:pos x="53" y="16"/>
                </a:cxn>
                <a:cxn ang="0">
                  <a:pos x="53" y="9"/>
                </a:cxn>
                <a:cxn ang="0">
                  <a:pos x="53" y="0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0" y="16"/>
                </a:cxn>
                <a:cxn ang="0">
                  <a:pos x="0" y="34"/>
                </a:cxn>
                <a:cxn ang="0">
                  <a:pos x="27" y="34"/>
                </a:cxn>
                <a:cxn ang="0">
                  <a:pos x="31" y="32"/>
                </a:cxn>
                <a:cxn ang="0">
                  <a:pos x="35" y="28"/>
                </a:cxn>
                <a:cxn ang="0">
                  <a:pos x="39" y="25"/>
                </a:cxn>
                <a:cxn ang="0">
                  <a:pos x="42" y="21"/>
                </a:cxn>
                <a:cxn ang="0">
                  <a:pos x="44" y="17"/>
                </a:cxn>
                <a:cxn ang="0">
                  <a:pos x="45" y="13"/>
                </a:cxn>
                <a:cxn ang="0">
                  <a:pos x="46" y="8"/>
                </a:cxn>
                <a:cxn ang="0">
                  <a:pos x="46" y="3"/>
                </a:cxn>
                <a:cxn ang="0">
                  <a:pos x="46" y="1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9" y="0"/>
                </a:cxn>
                <a:cxn ang="0">
                  <a:pos x="32" y="2"/>
                </a:cxn>
                <a:cxn ang="0">
                  <a:pos x="27" y="3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4" y="25"/>
                </a:cxn>
                <a:cxn ang="0">
                  <a:pos x="28" y="25"/>
                </a:cxn>
                <a:cxn ang="0">
                  <a:pos x="30" y="24"/>
                </a:cxn>
                <a:cxn ang="0">
                  <a:pos x="33" y="22"/>
                </a:cxn>
                <a:cxn ang="0">
                  <a:pos x="37" y="18"/>
                </a:cxn>
                <a:cxn ang="0">
                  <a:pos x="40" y="15"/>
                </a:cxn>
                <a:cxn ang="0">
                  <a:pos x="45" y="7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3" y="2"/>
                </a:cxn>
                <a:cxn ang="0">
                  <a:pos x="28" y="5"/>
                </a:cxn>
                <a:cxn ang="0">
                  <a:pos x="21" y="8"/>
                </a:cxn>
                <a:cxn ang="0">
                  <a:pos x="11" y="16"/>
                </a:cxn>
                <a:cxn ang="0">
                  <a:pos x="0" y="25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7"/>
                </a:cxn>
                <a:cxn ang="0">
                  <a:pos x="11" y="36"/>
                </a:cxn>
                <a:cxn ang="0">
                  <a:pos x="20" y="34"/>
                </a:cxn>
                <a:cxn ang="0">
                  <a:pos x="22" y="33"/>
                </a:cxn>
                <a:cxn ang="0">
                  <a:pos x="26" y="32"/>
                </a:cxn>
                <a:cxn ang="0">
                  <a:pos x="28" y="30"/>
                </a:cxn>
                <a:cxn ang="0">
                  <a:pos x="29" y="28"/>
                </a:cxn>
                <a:cxn ang="0">
                  <a:pos x="30" y="23"/>
                </a:cxn>
                <a:cxn ang="0">
                  <a:pos x="30" y="16"/>
                </a:cxn>
                <a:cxn ang="0">
                  <a:pos x="29" y="9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22" y="3"/>
                </a:cxn>
                <a:cxn ang="0">
                  <a:pos x="12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0" y="21"/>
                </a:cxn>
                <a:cxn ang="0">
                  <a:pos x="6" y="27"/>
                </a:cxn>
                <a:cxn ang="0">
                  <a:pos x="10" y="33"/>
                </a:cxn>
                <a:cxn ang="0">
                  <a:pos x="16" y="37"/>
                </a:cxn>
                <a:cxn ang="0">
                  <a:pos x="20" y="41"/>
                </a:cxn>
                <a:cxn ang="0">
                  <a:pos x="25" y="43"/>
                </a:cxn>
                <a:cxn ang="0">
                  <a:pos x="30" y="45"/>
                </a:cxn>
                <a:cxn ang="0">
                  <a:pos x="35" y="46"/>
                </a:cxn>
                <a:cxn ang="0">
                  <a:pos x="40" y="46"/>
                </a:cxn>
                <a:cxn ang="0">
                  <a:pos x="56" y="46"/>
                </a:cxn>
                <a:cxn ang="0">
                  <a:pos x="70" y="43"/>
                </a:cxn>
                <a:cxn ang="0">
                  <a:pos x="76" y="41"/>
                </a:cxn>
                <a:cxn ang="0">
                  <a:pos x="81" y="38"/>
                </a:cxn>
                <a:cxn ang="0">
                  <a:pos x="87" y="36"/>
                </a:cxn>
                <a:cxn ang="0">
                  <a:pos x="91" y="33"/>
                </a:cxn>
                <a:cxn ang="0">
                  <a:pos x="99" y="27"/>
                </a:cxn>
                <a:cxn ang="0">
                  <a:pos x="106" y="20"/>
                </a:cxn>
                <a:cxn ang="0">
                  <a:pos x="110" y="12"/>
                </a:cxn>
                <a:cxn ang="0">
                  <a:pos x="113" y="3"/>
                </a:cxn>
                <a:cxn ang="0">
                  <a:pos x="99" y="1"/>
                </a:cxn>
                <a:cxn ang="0">
                  <a:pos x="87" y="0"/>
                </a:cxn>
                <a:cxn ang="0">
                  <a:pos x="76" y="0"/>
                </a:cxn>
                <a:cxn ang="0">
                  <a:pos x="66" y="1"/>
                </a:cxn>
                <a:cxn ang="0">
                  <a:pos x="48" y="2"/>
                </a:cxn>
                <a:cxn ang="0">
                  <a:pos x="33" y="3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2" y="81"/>
                </a:cxn>
                <a:cxn ang="0">
                  <a:pos x="6" y="82"/>
                </a:cxn>
                <a:cxn ang="0">
                  <a:pos x="10" y="82"/>
                </a:cxn>
                <a:cxn ang="0">
                  <a:pos x="14" y="82"/>
                </a:cxn>
                <a:cxn ang="0">
                  <a:pos x="23" y="80"/>
                </a:cxn>
                <a:cxn ang="0">
                  <a:pos x="33" y="79"/>
                </a:cxn>
                <a:cxn ang="0">
                  <a:pos x="40" y="79"/>
                </a:cxn>
                <a:cxn ang="0">
                  <a:pos x="47" y="78"/>
                </a:cxn>
                <a:cxn ang="0">
                  <a:pos x="56" y="76"/>
                </a:cxn>
                <a:cxn ang="0">
                  <a:pos x="65" y="74"/>
                </a:cxn>
                <a:cxn ang="0">
                  <a:pos x="83" y="68"/>
                </a:cxn>
                <a:cxn ang="0">
                  <a:pos x="103" y="59"/>
                </a:cxn>
                <a:cxn ang="0">
                  <a:pos x="112" y="54"/>
                </a:cxn>
                <a:cxn ang="0">
                  <a:pos x="121" y="49"/>
                </a:cxn>
                <a:cxn ang="0">
                  <a:pos x="129" y="43"/>
                </a:cxn>
                <a:cxn ang="0">
                  <a:pos x="136" y="38"/>
                </a:cxn>
                <a:cxn ang="0">
                  <a:pos x="142" y="32"/>
                </a:cxn>
                <a:cxn ang="0">
                  <a:pos x="147" y="25"/>
                </a:cxn>
                <a:cxn ang="0">
                  <a:pos x="150" y="19"/>
                </a:cxn>
                <a:cxn ang="0">
                  <a:pos x="153" y="12"/>
                </a:cxn>
                <a:cxn ang="0">
                  <a:pos x="134" y="8"/>
                </a:cxn>
                <a:cxn ang="0">
                  <a:pos x="115" y="3"/>
                </a:cxn>
                <a:cxn ang="0">
                  <a:pos x="96" y="1"/>
                </a:cxn>
                <a:cxn ang="0">
                  <a:pos x="77" y="0"/>
                </a:cxn>
                <a:cxn ang="0">
                  <a:pos x="68" y="1"/>
                </a:cxn>
                <a:cxn ang="0">
                  <a:pos x="60" y="1"/>
                </a:cxn>
                <a:cxn ang="0">
                  <a:pos x="52" y="2"/>
                </a:cxn>
                <a:cxn ang="0">
                  <a:pos x="45" y="4"/>
                </a:cxn>
                <a:cxn ang="0">
                  <a:pos x="38" y="7"/>
                </a:cxn>
                <a:cxn ang="0">
                  <a:pos x="34" y="10"/>
                </a:cxn>
                <a:cxn ang="0">
                  <a:pos x="30" y="14"/>
                </a:cxn>
                <a:cxn ang="0">
                  <a:pos x="26" y="18"/>
                </a:cxn>
                <a:cxn ang="0">
                  <a:pos x="32" y="23"/>
                </a:cxn>
                <a:cxn ang="0">
                  <a:pos x="36" y="29"/>
                </a:cxn>
                <a:cxn ang="0">
                  <a:pos x="38" y="32"/>
                </a:cxn>
                <a:cxn ang="0">
                  <a:pos x="42" y="34"/>
                </a:cxn>
                <a:cxn ang="0">
                  <a:pos x="44" y="36"/>
                </a:cxn>
                <a:cxn ang="0">
                  <a:pos x="46" y="36"/>
                </a:cxn>
                <a:cxn ang="0">
                  <a:pos x="40" y="41"/>
                </a:cxn>
                <a:cxn ang="0">
                  <a:pos x="33" y="46"/>
                </a:cxn>
                <a:cxn ang="0">
                  <a:pos x="29" y="52"/>
                </a:cxn>
                <a:cxn ang="0">
                  <a:pos x="23" y="57"/>
                </a:cxn>
                <a:cxn ang="0">
                  <a:pos x="18" y="64"/>
                </a:cxn>
                <a:cxn ang="0">
                  <a:pos x="13" y="69"/>
                </a:cxn>
                <a:cxn ang="0">
                  <a:pos x="7" y="75"/>
                </a:cxn>
                <a:cxn ang="0">
                  <a:pos x="0" y="79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5" y="41"/>
                </a:cxn>
                <a:cxn ang="0">
                  <a:pos x="11" y="44"/>
                </a:cxn>
                <a:cxn ang="0">
                  <a:pos x="16" y="47"/>
                </a:cxn>
                <a:cxn ang="0">
                  <a:pos x="23" y="48"/>
                </a:cxn>
                <a:cxn ang="0">
                  <a:pos x="35" y="49"/>
                </a:cxn>
                <a:cxn ang="0">
                  <a:pos x="46" y="50"/>
                </a:cxn>
                <a:cxn ang="0">
                  <a:pos x="58" y="49"/>
                </a:cxn>
                <a:cxn ang="0">
                  <a:pos x="67" y="48"/>
                </a:cxn>
                <a:cxn ang="0">
                  <a:pos x="73" y="47"/>
                </a:cxn>
                <a:cxn ang="0">
                  <a:pos x="79" y="44"/>
                </a:cxn>
                <a:cxn ang="0">
                  <a:pos x="82" y="41"/>
                </a:cxn>
                <a:cxn ang="0">
                  <a:pos x="84" y="37"/>
                </a:cxn>
                <a:cxn ang="0">
                  <a:pos x="85" y="32"/>
                </a:cxn>
                <a:cxn ang="0">
                  <a:pos x="86" y="25"/>
                </a:cxn>
                <a:cxn ang="0">
                  <a:pos x="85" y="17"/>
                </a:cxn>
                <a:cxn ang="0">
                  <a:pos x="84" y="10"/>
                </a:cxn>
                <a:cxn ang="0">
                  <a:pos x="83" y="7"/>
                </a:cxn>
                <a:cxn ang="0">
                  <a:pos x="81" y="5"/>
                </a:cxn>
                <a:cxn ang="0">
                  <a:pos x="77" y="2"/>
                </a:cxn>
                <a:cxn ang="0">
                  <a:pos x="73" y="0"/>
                </a:cxn>
                <a:cxn ang="0">
                  <a:pos x="0" y="37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/>
              <a:ahLst/>
              <a:cxnLst>
                <a:cxn ang="0">
                  <a:pos x="119" y="61"/>
                </a:cxn>
                <a:cxn ang="0">
                  <a:pos x="109" y="61"/>
                </a:cxn>
                <a:cxn ang="0">
                  <a:pos x="99" y="61"/>
                </a:cxn>
                <a:cxn ang="0">
                  <a:pos x="90" y="61"/>
                </a:cxn>
                <a:cxn ang="0">
                  <a:pos x="80" y="61"/>
                </a:cxn>
                <a:cxn ang="0">
                  <a:pos x="60" y="74"/>
                </a:cxn>
                <a:cxn ang="0">
                  <a:pos x="33" y="74"/>
                </a:cxn>
                <a:cxn ang="0">
                  <a:pos x="36" y="61"/>
                </a:cxn>
                <a:cxn ang="0">
                  <a:pos x="39" y="49"/>
                </a:cxn>
                <a:cxn ang="0">
                  <a:pos x="30" y="49"/>
                </a:cxn>
                <a:cxn ang="0">
                  <a:pos x="23" y="48"/>
                </a:cxn>
                <a:cxn ang="0">
                  <a:pos x="15" y="47"/>
                </a:cxn>
                <a:cxn ang="0">
                  <a:pos x="9" y="45"/>
                </a:cxn>
                <a:cxn ang="0">
                  <a:pos x="5" y="42"/>
                </a:cxn>
                <a:cxn ang="0">
                  <a:pos x="2" y="39"/>
                </a:cxn>
                <a:cxn ang="0">
                  <a:pos x="1" y="35"/>
                </a:cxn>
                <a:cxn ang="0">
                  <a:pos x="0" y="31"/>
                </a:cxn>
                <a:cxn ang="0">
                  <a:pos x="1" y="26"/>
                </a:cxn>
                <a:cxn ang="0">
                  <a:pos x="2" y="21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0"/>
                </a:cxn>
                <a:cxn ang="0">
                  <a:pos x="18" y="7"/>
                </a:cxn>
                <a:cxn ang="0">
                  <a:pos x="24" y="5"/>
                </a:cxn>
                <a:cxn ang="0">
                  <a:pos x="29" y="4"/>
                </a:cxn>
                <a:cxn ang="0">
                  <a:pos x="42" y="1"/>
                </a:cxn>
                <a:cxn ang="0">
                  <a:pos x="56" y="0"/>
                </a:cxn>
                <a:cxn ang="0">
                  <a:pos x="69" y="0"/>
                </a:cxn>
                <a:cxn ang="0">
                  <a:pos x="80" y="0"/>
                </a:cxn>
                <a:cxn ang="0">
                  <a:pos x="94" y="1"/>
                </a:cxn>
                <a:cxn ang="0">
                  <a:pos x="106" y="4"/>
                </a:cxn>
                <a:cxn ang="0">
                  <a:pos x="117" y="7"/>
                </a:cxn>
                <a:cxn ang="0">
                  <a:pos x="128" y="13"/>
                </a:cxn>
                <a:cxn ang="0">
                  <a:pos x="139" y="17"/>
                </a:cxn>
                <a:cxn ang="0">
                  <a:pos x="150" y="21"/>
                </a:cxn>
                <a:cxn ang="0">
                  <a:pos x="161" y="24"/>
                </a:cxn>
                <a:cxn ang="0">
                  <a:pos x="172" y="25"/>
                </a:cxn>
                <a:cxn ang="0">
                  <a:pos x="172" y="43"/>
                </a:cxn>
                <a:cxn ang="0">
                  <a:pos x="169" y="48"/>
                </a:cxn>
                <a:cxn ang="0">
                  <a:pos x="165" y="53"/>
                </a:cxn>
                <a:cxn ang="0">
                  <a:pos x="161" y="57"/>
                </a:cxn>
                <a:cxn ang="0">
                  <a:pos x="158" y="60"/>
                </a:cxn>
                <a:cxn ang="0">
                  <a:pos x="153" y="62"/>
                </a:cxn>
                <a:cxn ang="0">
                  <a:pos x="149" y="63"/>
                </a:cxn>
                <a:cxn ang="0">
                  <a:pos x="146" y="65"/>
                </a:cxn>
                <a:cxn ang="0">
                  <a:pos x="141" y="65"/>
                </a:cxn>
                <a:cxn ang="0">
                  <a:pos x="131" y="65"/>
                </a:cxn>
                <a:cxn ang="0">
                  <a:pos x="121" y="63"/>
                </a:cxn>
                <a:cxn ang="0">
                  <a:pos x="112" y="59"/>
                </a:cxn>
                <a:cxn ang="0">
                  <a:pos x="99" y="55"/>
                </a:cxn>
                <a:cxn ang="0">
                  <a:pos x="106" y="55"/>
                </a:cxn>
                <a:cxn ang="0">
                  <a:pos x="119" y="61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47" y="49"/>
                </a:cxn>
                <a:cxn ang="0">
                  <a:pos x="64" y="48"/>
                </a:cxn>
                <a:cxn ang="0">
                  <a:pos x="78" y="46"/>
                </a:cxn>
                <a:cxn ang="0">
                  <a:pos x="90" y="43"/>
                </a:cxn>
                <a:cxn ang="0">
                  <a:pos x="96" y="39"/>
                </a:cxn>
                <a:cxn ang="0">
                  <a:pos x="100" y="37"/>
                </a:cxn>
                <a:cxn ang="0">
                  <a:pos x="104" y="34"/>
                </a:cxn>
                <a:cxn ang="0">
                  <a:pos x="108" y="31"/>
                </a:cxn>
                <a:cxn ang="0">
                  <a:pos x="114" y="22"/>
                </a:cxn>
                <a:cxn ang="0">
                  <a:pos x="120" y="12"/>
                </a:cxn>
                <a:cxn ang="0">
                  <a:pos x="102" y="6"/>
                </a:cxn>
                <a:cxn ang="0">
                  <a:pos x="84" y="3"/>
                </a:cxn>
                <a:cxn ang="0">
                  <a:pos x="66" y="1"/>
                </a:cxn>
                <a:cxn ang="0">
                  <a:pos x="50" y="0"/>
                </a:cxn>
                <a:cxn ang="0">
                  <a:pos x="34" y="1"/>
                </a:cxn>
                <a:cxn ang="0">
                  <a:pos x="20" y="2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0" y="30"/>
                </a:cxn>
                <a:cxn ang="0">
                  <a:pos x="2" y="35"/>
                </a:cxn>
                <a:cxn ang="0">
                  <a:pos x="6" y="38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20" y="48"/>
                </a:cxn>
                <a:cxn ang="0">
                  <a:pos x="27" y="49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2" y="5"/>
                </a:cxn>
                <a:cxn ang="0">
                  <a:pos x="11" y="12"/>
                </a:cxn>
                <a:cxn ang="0">
                  <a:pos x="6" y="17"/>
                </a:cxn>
                <a:cxn ang="0">
                  <a:pos x="3" y="21"/>
                </a:cxn>
                <a:cxn ang="0">
                  <a:pos x="0" y="25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5" y="43"/>
                </a:cxn>
                <a:cxn ang="0">
                  <a:pos x="11" y="48"/>
                </a:cxn>
                <a:cxn ang="0">
                  <a:pos x="18" y="53"/>
                </a:cxn>
                <a:cxn ang="0">
                  <a:pos x="27" y="56"/>
                </a:cxn>
                <a:cxn ang="0">
                  <a:pos x="36" y="59"/>
                </a:cxn>
                <a:cxn ang="0">
                  <a:pos x="45" y="61"/>
                </a:cxn>
                <a:cxn ang="0">
                  <a:pos x="53" y="61"/>
                </a:cxn>
                <a:cxn ang="0">
                  <a:pos x="56" y="61"/>
                </a:cxn>
                <a:cxn ang="0">
                  <a:pos x="59" y="60"/>
                </a:cxn>
                <a:cxn ang="0">
                  <a:pos x="62" y="59"/>
                </a:cxn>
                <a:cxn ang="0">
                  <a:pos x="66" y="57"/>
                </a:cxn>
                <a:cxn ang="0">
                  <a:pos x="72" y="52"/>
                </a:cxn>
                <a:cxn ang="0">
                  <a:pos x="77" y="47"/>
                </a:cxn>
                <a:cxn ang="0">
                  <a:pos x="80" y="40"/>
                </a:cxn>
                <a:cxn ang="0">
                  <a:pos x="83" y="33"/>
                </a:cxn>
                <a:cxn ang="0">
                  <a:pos x="85" y="25"/>
                </a:cxn>
                <a:cxn ang="0">
                  <a:pos x="85" y="18"/>
                </a:cxn>
                <a:cxn ang="0">
                  <a:pos x="33" y="0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1"/>
                </a:cxn>
                <a:cxn ang="0">
                  <a:pos x="13" y="15"/>
                </a:cxn>
                <a:cxn ang="0">
                  <a:pos x="21" y="18"/>
                </a:cxn>
                <a:cxn ang="0">
                  <a:pos x="27" y="19"/>
                </a:cxn>
                <a:cxn ang="0">
                  <a:pos x="100" y="6"/>
                </a:cxn>
                <a:cxn ang="0">
                  <a:pos x="73" y="2"/>
                </a:cxn>
                <a:cxn ang="0">
                  <a:pos x="47" y="0"/>
                </a:cxn>
                <a:cxn ang="0">
                  <a:pos x="36" y="0"/>
                </a:cxn>
                <a:cxn ang="0">
                  <a:pos x="24" y="1"/>
                </a:cxn>
                <a:cxn ang="0">
                  <a:pos x="12" y="3"/>
                </a:cxn>
                <a:cxn ang="0">
                  <a:pos x="0" y="6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9"/>
                </a:cxn>
                <a:cxn ang="0">
                  <a:pos x="3" y="31"/>
                </a:cxn>
                <a:cxn ang="0">
                  <a:pos x="8" y="33"/>
                </a:cxn>
                <a:cxn ang="0">
                  <a:pos x="13" y="35"/>
                </a:cxn>
                <a:cxn ang="0">
                  <a:pos x="27" y="38"/>
                </a:cxn>
                <a:cxn ang="0">
                  <a:pos x="44" y="41"/>
                </a:cxn>
                <a:cxn ang="0">
                  <a:pos x="75" y="44"/>
                </a:cxn>
                <a:cxn ang="0">
                  <a:pos x="92" y="45"/>
                </a:cxn>
                <a:cxn ang="0">
                  <a:pos x="166" y="27"/>
                </a:cxn>
                <a:cxn ang="0">
                  <a:pos x="157" y="25"/>
                </a:cxn>
                <a:cxn ang="0">
                  <a:pos x="137" y="19"/>
                </a:cxn>
                <a:cxn ang="0">
                  <a:pos x="110" y="11"/>
                </a:cxn>
                <a:cxn ang="0">
                  <a:pos x="80" y="4"/>
                </a:cxn>
                <a:cxn ang="0">
                  <a:pos x="65" y="2"/>
                </a:cxn>
                <a:cxn ang="0">
                  <a:pos x="50" y="1"/>
                </a:cxn>
                <a:cxn ang="0">
                  <a:pos x="36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7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3" y="15"/>
                </a:cxn>
                <a:cxn ang="0">
                  <a:pos x="6" y="20"/>
                </a:cxn>
                <a:cxn ang="0">
                  <a:pos x="11" y="22"/>
                </a:cxn>
                <a:cxn ang="0">
                  <a:pos x="16" y="24"/>
                </a:cxn>
                <a:cxn ang="0">
                  <a:pos x="22" y="25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12" y="56"/>
                </a:cxn>
                <a:cxn ang="0">
                  <a:pos x="22" y="50"/>
                </a:cxn>
                <a:cxn ang="0">
                  <a:pos x="30" y="43"/>
                </a:cxn>
                <a:cxn ang="0">
                  <a:pos x="37" y="36"/>
                </a:cxn>
                <a:cxn ang="0">
                  <a:pos x="41" y="28"/>
                </a:cxn>
                <a:cxn ang="0">
                  <a:pos x="44" y="19"/>
                </a:cxn>
                <a:cxn ang="0">
                  <a:pos x="47" y="9"/>
                </a:cxn>
                <a:cxn ang="0">
                  <a:pos x="48" y="0"/>
                </a:cxn>
                <a:cxn ang="0">
                  <a:pos x="40" y="3"/>
                </a:cxn>
                <a:cxn ang="0">
                  <a:pos x="32" y="6"/>
                </a:cxn>
                <a:cxn ang="0">
                  <a:pos x="23" y="10"/>
                </a:cxn>
                <a:cxn ang="0">
                  <a:pos x="17" y="15"/>
                </a:cxn>
                <a:cxn ang="0">
                  <a:pos x="10" y="21"/>
                </a:cxn>
                <a:cxn ang="0">
                  <a:pos x="6" y="27"/>
                </a:cxn>
                <a:cxn ang="0">
                  <a:pos x="4" y="31"/>
                </a:cxn>
                <a:cxn ang="0">
                  <a:pos x="3" y="35"/>
                </a:cxn>
                <a:cxn ang="0">
                  <a:pos x="1" y="39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0" y="62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36" y="7"/>
                </a:cxn>
                <a:cxn ang="0">
                  <a:pos x="23" y="17"/>
                </a:cxn>
                <a:cxn ang="0">
                  <a:pos x="11" y="27"/>
                </a:cxn>
                <a:cxn ang="0">
                  <a:pos x="0" y="37"/>
                </a:cxn>
                <a:cxn ang="0">
                  <a:pos x="22" y="46"/>
                </a:cxn>
                <a:cxn ang="0">
                  <a:pos x="41" y="54"/>
                </a:cxn>
                <a:cxn ang="0">
                  <a:pos x="51" y="57"/>
                </a:cxn>
                <a:cxn ang="0">
                  <a:pos x="62" y="59"/>
                </a:cxn>
                <a:cxn ang="0">
                  <a:pos x="73" y="61"/>
                </a:cxn>
                <a:cxn ang="0">
                  <a:pos x="87" y="62"/>
                </a:cxn>
                <a:cxn ang="0">
                  <a:pos x="97" y="61"/>
                </a:cxn>
                <a:cxn ang="0">
                  <a:pos x="106" y="58"/>
                </a:cxn>
                <a:cxn ang="0">
                  <a:pos x="109" y="56"/>
                </a:cxn>
                <a:cxn ang="0">
                  <a:pos x="111" y="54"/>
                </a:cxn>
                <a:cxn ang="0">
                  <a:pos x="113" y="52"/>
                </a:cxn>
                <a:cxn ang="0">
                  <a:pos x="113" y="49"/>
                </a:cxn>
                <a:cxn ang="0">
                  <a:pos x="91" y="41"/>
                </a:cxn>
                <a:cxn ang="0">
                  <a:pos x="70" y="32"/>
                </a:cxn>
                <a:cxn ang="0">
                  <a:pos x="65" y="29"/>
                </a:cxn>
                <a:cxn ang="0">
                  <a:pos x="61" y="26"/>
                </a:cxn>
                <a:cxn ang="0">
                  <a:pos x="57" y="23"/>
                </a:cxn>
                <a:cxn ang="0">
                  <a:pos x="54" y="20"/>
                </a:cxn>
                <a:cxn ang="0">
                  <a:pos x="51" y="16"/>
                </a:cxn>
                <a:cxn ang="0">
                  <a:pos x="48" y="10"/>
                </a:cxn>
                <a:cxn ang="0">
                  <a:pos x="47" y="5"/>
                </a:cxn>
                <a:cxn ang="0">
                  <a:pos x="47" y="0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30" y="1"/>
                </a:cxn>
                <a:cxn ang="0">
                  <a:pos x="45" y="2"/>
                </a:cxn>
                <a:cxn ang="0">
                  <a:pos x="59" y="5"/>
                </a:cxn>
                <a:cxn ang="0">
                  <a:pos x="64" y="7"/>
                </a:cxn>
                <a:cxn ang="0">
                  <a:pos x="71" y="9"/>
                </a:cxn>
                <a:cxn ang="0">
                  <a:pos x="75" y="12"/>
                </a:cxn>
                <a:cxn ang="0">
                  <a:pos x="81" y="16"/>
                </a:cxn>
                <a:cxn ang="0">
                  <a:pos x="85" y="20"/>
                </a:cxn>
                <a:cxn ang="0">
                  <a:pos x="89" y="25"/>
                </a:cxn>
                <a:cxn ang="0">
                  <a:pos x="91" y="30"/>
                </a:cxn>
                <a:cxn ang="0">
                  <a:pos x="93" y="37"/>
                </a:cxn>
                <a:cxn ang="0">
                  <a:pos x="79" y="37"/>
                </a:cxn>
                <a:cxn ang="0">
                  <a:pos x="68" y="39"/>
                </a:cxn>
                <a:cxn ang="0">
                  <a:pos x="60" y="41"/>
                </a:cxn>
                <a:cxn ang="0">
                  <a:pos x="52" y="43"/>
                </a:cxn>
                <a:cxn ang="0">
                  <a:pos x="42" y="47"/>
                </a:cxn>
                <a:cxn ang="0">
                  <a:pos x="33" y="50"/>
                </a:cxn>
                <a:cxn ang="0">
                  <a:pos x="30" y="50"/>
                </a:cxn>
                <a:cxn ang="0">
                  <a:pos x="28" y="48"/>
                </a:cxn>
                <a:cxn ang="0">
                  <a:pos x="26" y="47"/>
                </a:cxn>
                <a:cxn ang="0">
                  <a:pos x="25" y="45"/>
                </a:cxn>
                <a:cxn ang="0">
                  <a:pos x="23" y="41"/>
                </a:cxn>
                <a:cxn ang="0">
                  <a:pos x="22" y="36"/>
                </a:cxn>
                <a:cxn ang="0">
                  <a:pos x="22" y="31"/>
                </a:cxn>
                <a:cxn ang="0">
                  <a:pos x="23" y="26"/>
                </a:cxn>
                <a:cxn ang="0">
                  <a:pos x="24" y="22"/>
                </a:cxn>
                <a:cxn ang="0">
                  <a:pos x="26" y="1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/>
              <a:ahLst/>
              <a:cxnLst>
                <a:cxn ang="0">
                  <a:pos x="20" y="112"/>
                </a:cxn>
                <a:cxn ang="0">
                  <a:pos x="67" y="60"/>
                </a:cxn>
                <a:cxn ang="0">
                  <a:pos x="266" y="0"/>
                </a:cxn>
                <a:cxn ang="0">
                  <a:pos x="205" y="47"/>
                </a:cxn>
                <a:cxn ang="0">
                  <a:pos x="180" y="105"/>
                </a:cxn>
                <a:cxn ang="0">
                  <a:pos x="274" y="60"/>
                </a:cxn>
                <a:cxn ang="0">
                  <a:pos x="397" y="14"/>
                </a:cxn>
                <a:cxn ang="0">
                  <a:pos x="438" y="23"/>
                </a:cxn>
                <a:cxn ang="0">
                  <a:pos x="433" y="71"/>
                </a:cxn>
                <a:cxn ang="0">
                  <a:pos x="581" y="80"/>
                </a:cxn>
                <a:cxn ang="0">
                  <a:pos x="675" y="89"/>
                </a:cxn>
                <a:cxn ang="0">
                  <a:pos x="749" y="111"/>
                </a:cxn>
                <a:cxn ang="0">
                  <a:pos x="749" y="134"/>
                </a:cxn>
                <a:cxn ang="0">
                  <a:pos x="711" y="184"/>
                </a:cxn>
                <a:cxn ang="0">
                  <a:pos x="799" y="168"/>
                </a:cxn>
                <a:cxn ang="0">
                  <a:pos x="866" y="191"/>
                </a:cxn>
                <a:cxn ang="0">
                  <a:pos x="856" y="239"/>
                </a:cxn>
                <a:cxn ang="0">
                  <a:pos x="788" y="248"/>
                </a:cxn>
                <a:cxn ang="0">
                  <a:pos x="859" y="284"/>
                </a:cxn>
                <a:cxn ang="0">
                  <a:pos x="903" y="327"/>
                </a:cxn>
                <a:cxn ang="0">
                  <a:pos x="977" y="329"/>
                </a:cxn>
                <a:cxn ang="0">
                  <a:pos x="1029" y="351"/>
                </a:cxn>
                <a:cxn ang="0">
                  <a:pos x="939" y="409"/>
                </a:cxn>
                <a:cxn ang="0">
                  <a:pos x="899" y="417"/>
                </a:cxn>
                <a:cxn ang="0">
                  <a:pos x="874" y="443"/>
                </a:cxn>
                <a:cxn ang="0">
                  <a:pos x="830" y="414"/>
                </a:cxn>
                <a:cxn ang="0">
                  <a:pos x="851" y="393"/>
                </a:cxn>
                <a:cxn ang="0">
                  <a:pos x="792" y="379"/>
                </a:cxn>
                <a:cxn ang="0">
                  <a:pos x="759" y="364"/>
                </a:cxn>
                <a:cxn ang="0">
                  <a:pos x="744" y="394"/>
                </a:cxn>
                <a:cxn ang="0">
                  <a:pos x="747" y="445"/>
                </a:cxn>
                <a:cxn ang="0">
                  <a:pos x="795" y="523"/>
                </a:cxn>
                <a:cxn ang="0">
                  <a:pos x="771" y="547"/>
                </a:cxn>
                <a:cxn ang="0">
                  <a:pos x="708" y="556"/>
                </a:cxn>
                <a:cxn ang="0">
                  <a:pos x="618" y="517"/>
                </a:cxn>
                <a:cxn ang="0">
                  <a:pos x="668" y="567"/>
                </a:cxn>
                <a:cxn ang="0">
                  <a:pos x="665" y="604"/>
                </a:cxn>
                <a:cxn ang="0">
                  <a:pos x="518" y="570"/>
                </a:cxn>
                <a:cxn ang="0">
                  <a:pos x="471" y="523"/>
                </a:cxn>
                <a:cxn ang="0">
                  <a:pos x="410" y="473"/>
                </a:cxn>
                <a:cxn ang="0">
                  <a:pos x="367" y="453"/>
                </a:cxn>
                <a:cxn ang="0">
                  <a:pos x="392" y="433"/>
                </a:cxn>
                <a:cxn ang="0">
                  <a:pos x="459" y="399"/>
                </a:cxn>
                <a:cxn ang="0">
                  <a:pos x="500" y="378"/>
                </a:cxn>
                <a:cxn ang="0">
                  <a:pos x="577" y="380"/>
                </a:cxn>
                <a:cxn ang="0">
                  <a:pos x="614" y="395"/>
                </a:cxn>
                <a:cxn ang="0">
                  <a:pos x="687" y="387"/>
                </a:cxn>
                <a:cxn ang="0">
                  <a:pos x="581" y="355"/>
                </a:cxn>
                <a:cxn ang="0">
                  <a:pos x="542" y="361"/>
                </a:cxn>
                <a:cxn ang="0">
                  <a:pos x="539" y="350"/>
                </a:cxn>
                <a:cxn ang="0">
                  <a:pos x="576" y="306"/>
                </a:cxn>
                <a:cxn ang="0">
                  <a:pos x="576" y="274"/>
                </a:cxn>
                <a:cxn ang="0">
                  <a:pos x="524" y="254"/>
                </a:cxn>
                <a:cxn ang="0">
                  <a:pos x="473" y="198"/>
                </a:cxn>
                <a:cxn ang="0">
                  <a:pos x="434" y="168"/>
                </a:cxn>
                <a:cxn ang="0">
                  <a:pos x="408" y="163"/>
                </a:cxn>
                <a:cxn ang="0">
                  <a:pos x="378" y="203"/>
                </a:cxn>
                <a:cxn ang="0">
                  <a:pos x="207" y="174"/>
                </a:cxn>
                <a:cxn ang="0">
                  <a:pos x="114" y="189"/>
                </a:cxn>
                <a:cxn ang="0">
                  <a:pos x="79" y="187"/>
                </a:cxn>
                <a:cxn ang="0">
                  <a:pos x="16" y="180"/>
                </a:cxn>
                <a:cxn ang="0">
                  <a:pos x="9" y="158"/>
                </a:cxn>
                <a:cxn ang="0">
                  <a:pos x="75" y="149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/>
              <a:ahLst/>
              <a:cxnLst>
                <a:cxn ang="0">
                  <a:pos x="797" y="38"/>
                </a:cxn>
                <a:cxn ang="0">
                  <a:pos x="813" y="16"/>
                </a:cxn>
                <a:cxn ang="0">
                  <a:pos x="846" y="10"/>
                </a:cxn>
                <a:cxn ang="0">
                  <a:pos x="865" y="25"/>
                </a:cxn>
                <a:cxn ang="0">
                  <a:pos x="938" y="14"/>
                </a:cxn>
                <a:cxn ang="0">
                  <a:pos x="1020" y="1"/>
                </a:cxn>
                <a:cxn ang="0">
                  <a:pos x="1084" y="17"/>
                </a:cxn>
                <a:cxn ang="0">
                  <a:pos x="1133" y="20"/>
                </a:cxn>
                <a:cxn ang="0">
                  <a:pos x="1268" y="32"/>
                </a:cxn>
                <a:cxn ang="0">
                  <a:pos x="1242" y="50"/>
                </a:cxn>
                <a:cxn ang="0">
                  <a:pos x="1163" y="64"/>
                </a:cxn>
                <a:cxn ang="0">
                  <a:pos x="1053" y="77"/>
                </a:cxn>
                <a:cxn ang="0">
                  <a:pos x="1029" y="96"/>
                </a:cxn>
                <a:cxn ang="0">
                  <a:pos x="999" y="104"/>
                </a:cxn>
                <a:cxn ang="0">
                  <a:pos x="942" y="102"/>
                </a:cxn>
                <a:cxn ang="0">
                  <a:pos x="930" y="118"/>
                </a:cxn>
                <a:cxn ang="0">
                  <a:pos x="747" y="133"/>
                </a:cxn>
                <a:cxn ang="0">
                  <a:pos x="666" y="156"/>
                </a:cxn>
                <a:cxn ang="0">
                  <a:pos x="635" y="181"/>
                </a:cxn>
                <a:cxn ang="0">
                  <a:pos x="591" y="167"/>
                </a:cxn>
                <a:cxn ang="0">
                  <a:pos x="570" y="181"/>
                </a:cxn>
                <a:cxn ang="0">
                  <a:pos x="590" y="207"/>
                </a:cxn>
                <a:cxn ang="0">
                  <a:pos x="545" y="237"/>
                </a:cxn>
                <a:cxn ang="0">
                  <a:pos x="483" y="236"/>
                </a:cxn>
                <a:cxn ang="0">
                  <a:pos x="404" y="242"/>
                </a:cxn>
                <a:cxn ang="0">
                  <a:pos x="405" y="257"/>
                </a:cxn>
                <a:cxn ang="0">
                  <a:pos x="392" y="293"/>
                </a:cxn>
                <a:cxn ang="0">
                  <a:pos x="333" y="320"/>
                </a:cxn>
                <a:cxn ang="0">
                  <a:pos x="290" y="296"/>
                </a:cxn>
                <a:cxn ang="0">
                  <a:pos x="253" y="285"/>
                </a:cxn>
                <a:cxn ang="0">
                  <a:pos x="96" y="276"/>
                </a:cxn>
                <a:cxn ang="0">
                  <a:pos x="0" y="285"/>
                </a:cxn>
                <a:cxn ang="0">
                  <a:pos x="10" y="266"/>
                </a:cxn>
                <a:cxn ang="0">
                  <a:pos x="56" y="246"/>
                </a:cxn>
                <a:cxn ang="0">
                  <a:pos x="143" y="235"/>
                </a:cxn>
                <a:cxn ang="0">
                  <a:pos x="170" y="225"/>
                </a:cxn>
                <a:cxn ang="0">
                  <a:pos x="190" y="217"/>
                </a:cxn>
                <a:cxn ang="0">
                  <a:pos x="219" y="232"/>
                </a:cxn>
                <a:cxn ang="0">
                  <a:pos x="247" y="247"/>
                </a:cxn>
                <a:cxn ang="0">
                  <a:pos x="208" y="207"/>
                </a:cxn>
                <a:cxn ang="0">
                  <a:pos x="193" y="200"/>
                </a:cxn>
                <a:cxn ang="0">
                  <a:pos x="197" y="181"/>
                </a:cxn>
                <a:cxn ang="0">
                  <a:pos x="246" y="174"/>
                </a:cxn>
                <a:cxn ang="0">
                  <a:pos x="365" y="186"/>
                </a:cxn>
                <a:cxn ang="0">
                  <a:pos x="418" y="174"/>
                </a:cxn>
                <a:cxn ang="0">
                  <a:pos x="322" y="169"/>
                </a:cxn>
                <a:cxn ang="0">
                  <a:pos x="299" y="149"/>
                </a:cxn>
                <a:cxn ang="0">
                  <a:pos x="378" y="137"/>
                </a:cxn>
                <a:cxn ang="0">
                  <a:pos x="438" y="155"/>
                </a:cxn>
                <a:cxn ang="0">
                  <a:pos x="478" y="124"/>
                </a:cxn>
                <a:cxn ang="0">
                  <a:pos x="664" y="87"/>
                </a:cxn>
                <a:cxn ang="0">
                  <a:pos x="589" y="110"/>
                </a:cxn>
                <a:cxn ang="0">
                  <a:pos x="449" y="111"/>
                </a:cxn>
                <a:cxn ang="0">
                  <a:pos x="312" y="116"/>
                </a:cxn>
                <a:cxn ang="0">
                  <a:pos x="253" y="101"/>
                </a:cxn>
                <a:cxn ang="0">
                  <a:pos x="219" y="80"/>
                </a:cxn>
                <a:cxn ang="0">
                  <a:pos x="253" y="71"/>
                </a:cxn>
                <a:cxn ang="0">
                  <a:pos x="446" y="47"/>
                </a:cxn>
                <a:cxn ang="0">
                  <a:pos x="618" y="32"/>
                </a:cxn>
                <a:cxn ang="0">
                  <a:pos x="674" y="20"/>
                </a:cxn>
                <a:cxn ang="0">
                  <a:pos x="757" y="26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0"/>
                </a:cxn>
                <a:cxn ang="0">
                  <a:pos x="4" y="19"/>
                </a:cxn>
                <a:cxn ang="0">
                  <a:pos x="9" y="29"/>
                </a:cxn>
                <a:cxn ang="0">
                  <a:pos x="15" y="39"/>
                </a:cxn>
                <a:cxn ang="0">
                  <a:pos x="22" y="48"/>
                </a:cxn>
                <a:cxn ang="0">
                  <a:pos x="31" y="59"/>
                </a:cxn>
                <a:cxn ang="0">
                  <a:pos x="41" y="68"/>
                </a:cxn>
                <a:cxn ang="0">
                  <a:pos x="51" y="77"/>
                </a:cxn>
                <a:cxn ang="0">
                  <a:pos x="62" y="85"/>
                </a:cxn>
                <a:cxn ang="0">
                  <a:pos x="73" y="93"/>
                </a:cxn>
                <a:cxn ang="0">
                  <a:pos x="84" y="99"/>
                </a:cxn>
                <a:cxn ang="0">
                  <a:pos x="95" y="105"/>
                </a:cxn>
                <a:cxn ang="0">
                  <a:pos x="106" y="111"/>
                </a:cxn>
                <a:cxn ang="0">
                  <a:pos x="116" y="114"/>
                </a:cxn>
                <a:cxn ang="0">
                  <a:pos x="124" y="117"/>
                </a:cxn>
                <a:cxn ang="0">
                  <a:pos x="133" y="117"/>
                </a:cxn>
                <a:cxn ang="0">
                  <a:pos x="139" y="116"/>
                </a:cxn>
                <a:cxn ang="0">
                  <a:pos x="146" y="113"/>
                </a:cxn>
                <a:cxn ang="0">
                  <a:pos x="153" y="110"/>
                </a:cxn>
                <a:cxn ang="0">
                  <a:pos x="160" y="104"/>
                </a:cxn>
                <a:cxn ang="0">
                  <a:pos x="150" y="91"/>
                </a:cxn>
                <a:cxn ang="0">
                  <a:pos x="141" y="79"/>
                </a:cxn>
                <a:cxn ang="0">
                  <a:pos x="138" y="73"/>
                </a:cxn>
                <a:cxn ang="0">
                  <a:pos x="135" y="66"/>
                </a:cxn>
                <a:cxn ang="0">
                  <a:pos x="133" y="58"/>
                </a:cxn>
                <a:cxn ang="0">
                  <a:pos x="133" y="49"/>
                </a:cxn>
                <a:cxn ang="0">
                  <a:pos x="127" y="48"/>
                </a:cxn>
                <a:cxn ang="0">
                  <a:pos x="118" y="45"/>
                </a:cxn>
                <a:cxn ang="0">
                  <a:pos x="108" y="40"/>
                </a:cxn>
                <a:cxn ang="0">
                  <a:pos x="97" y="34"/>
                </a:cxn>
                <a:cxn ang="0">
                  <a:pos x="87" y="28"/>
                </a:cxn>
                <a:cxn ang="0">
                  <a:pos x="77" y="21"/>
                </a:cxn>
                <a:cxn ang="0">
                  <a:pos x="74" y="17"/>
                </a:cxn>
                <a:cxn ang="0">
                  <a:pos x="71" y="13"/>
                </a:cxn>
                <a:cxn ang="0">
                  <a:pos x="68" y="10"/>
                </a:cxn>
                <a:cxn ang="0">
                  <a:pos x="66" y="6"/>
                </a:cxn>
                <a:cxn ang="0">
                  <a:pos x="60" y="6"/>
                </a:cxn>
                <a:cxn ang="0">
                  <a:pos x="52" y="6"/>
                </a:cxn>
                <a:cxn ang="0">
                  <a:pos x="43" y="4"/>
                </a:cxn>
                <a:cxn ang="0">
                  <a:pos x="33" y="0"/>
                </a:cxn>
                <a:cxn ang="0">
                  <a:pos x="0" y="0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/>
              <a:ahLst/>
              <a:cxnLst>
                <a:cxn ang="0">
                  <a:pos x="40" y="123"/>
                </a:cxn>
                <a:cxn ang="0">
                  <a:pos x="80" y="36"/>
                </a:cxn>
                <a:cxn ang="0">
                  <a:pos x="80" y="18"/>
                </a:cxn>
                <a:cxn ang="0">
                  <a:pos x="68" y="17"/>
                </a:cxn>
                <a:cxn ang="0">
                  <a:pos x="59" y="16"/>
                </a:cxn>
                <a:cxn ang="0">
                  <a:pos x="53" y="14"/>
                </a:cxn>
                <a:cxn ang="0">
                  <a:pos x="47" y="11"/>
                </a:cxn>
                <a:cxn ang="0">
                  <a:pos x="44" y="8"/>
                </a:cxn>
                <a:cxn ang="0">
                  <a:pos x="42" y="5"/>
                </a:cxn>
                <a:cxn ang="0">
                  <a:pos x="41" y="2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40"/>
                </a:cxn>
                <a:cxn ang="0">
                  <a:pos x="0" y="52"/>
                </a:cxn>
                <a:cxn ang="0">
                  <a:pos x="0" y="61"/>
                </a:cxn>
                <a:cxn ang="0">
                  <a:pos x="1" y="69"/>
                </a:cxn>
                <a:cxn ang="0">
                  <a:pos x="3" y="78"/>
                </a:cxn>
                <a:cxn ang="0">
                  <a:pos x="7" y="88"/>
                </a:cxn>
                <a:cxn ang="0">
                  <a:pos x="11" y="99"/>
                </a:cxn>
                <a:cxn ang="0">
                  <a:pos x="20" y="121"/>
                </a:cxn>
                <a:cxn ang="0">
                  <a:pos x="27" y="141"/>
                </a:cxn>
                <a:cxn ang="0">
                  <a:pos x="31" y="135"/>
                </a:cxn>
                <a:cxn ang="0">
                  <a:pos x="33" y="129"/>
                </a:cxn>
                <a:cxn ang="0">
                  <a:pos x="34" y="127"/>
                </a:cxn>
                <a:cxn ang="0">
                  <a:pos x="36" y="125"/>
                </a:cxn>
                <a:cxn ang="0">
                  <a:pos x="38" y="123"/>
                </a:cxn>
                <a:cxn ang="0">
                  <a:pos x="40" y="123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96"/>
                </a:cxn>
                <a:cxn ang="0">
                  <a:pos x="2" y="100"/>
                </a:cxn>
                <a:cxn ang="0">
                  <a:pos x="4" y="103"/>
                </a:cxn>
                <a:cxn ang="0">
                  <a:pos x="6" y="106"/>
                </a:cxn>
                <a:cxn ang="0">
                  <a:pos x="14" y="111"/>
                </a:cxn>
                <a:cxn ang="0">
                  <a:pos x="23" y="115"/>
                </a:cxn>
                <a:cxn ang="0">
                  <a:pos x="31" y="120"/>
                </a:cxn>
                <a:cxn ang="0">
                  <a:pos x="41" y="122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8" y="124"/>
                </a:cxn>
                <a:cxn ang="0">
                  <a:pos x="75" y="123"/>
                </a:cxn>
                <a:cxn ang="0">
                  <a:pos x="81" y="122"/>
                </a:cxn>
                <a:cxn ang="0">
                  <a:pos x="87" y="120"/>
                </a:cxn>
                <a:cxn ang="0">
                  <a:pos x="97" y="114"/>
                </a:cxn>
                <a:cxn ang="0">
                  <a:pos x="106" y="108"/>
                </a:cxn>
                <a:cxn ang="0">
                  <a:pos x="115" y="103"/>
                </a:cxn>
                <a:cxn ang="0">
                  <a:pos x="125" y="98"/>
                </a:cxn>
                <a:cxn ang="0">
                  <a:pos x="130" y="96"/>
                </a:cxn>
                <a:cxn ang="0">
                  <a:pos x="137" y="94"/>
                </a:cxn>
                <a:cxn ang="0">
                  <a:pos x="145" y="93"/>
                </a:cxn>
                <a:cxn ang="0">
                  <a:pos x="152" y="93"/>
                </a:cxn>
                <a:cxn ang="0">
                  <a:pos x="162" y="94"/>
                </a:cxn>
                <a:cxn ang="0">
                  <a:pos x="171" y="96"/>
                </a:cxn>
                <a:cxn ang="0">
                  <a:pos x="180" y="99"/>
                </a:cxn>
                <a:cxn ang="0">
                  <a:pos x="188" y="103"/>
                </a:cxn>
                <a:cxn ang="0">
                  <a:pos x="204" y="111"/>
                </a:cxn>
                <a:cxn ang="0">
                  <a:pos x="219" y="117"/>
                </a:cxn>
                <a:cxn ang="0">
                  <a:pos x="259" y="117"/>
                </a:cxn>
                <a:cxn ang="0">
                  <a:pos x="259" y="99"/>
                </a:cxn>
                <a:cxn ang="0">
                  <a:pos x="252" y="98"/>
                </a:cxn>
                <a:cxn ang="0">
                  <a:pos x="244" y="96"/>
                </a:cxn>
                <a:cxn ang="0">
                  <a:pos x="236" y="94"/>
                </a:cxn>
                <a:cxn ang="0">
                  <a:pos x="226" y="93"/>
                </a:cxn>
                <a:cxn ang="0">
                  <a:pos x="230" y="85"/>
                </a:cxn>
                <a:cxn ang="0">
                  <a:pos x="236" y="79"/>
                </a:cxn>
                <a:cxn ang="0">
                  <a:pos x="240" y="74"/>
                </a:cxn>
                <a:cxn ang="0">
                  <a:pos x="246" y="69"/>
                </a:cxn>
                <a:cxn ang="0">
                  <a:pos x="238" y="61"/>
                </a:cxn>
                <a:cxn ang="0">
                  <a:pos x="230" y="56"/>
                </a:cxn>
                <a:cxn ang="0">
                  <a:pos x="222" y="50"/>
                </a:cxn>
                <a:cxn ang="0">
                  <a:pos x="214" y="46"/>
                </a:cxn>
                <a:cxn ang="0">
                  <a:pos x="197" y="37"/>
                </a:cxn>
                <a:cxn ang="0">
                  <a:pos x="182" y="30"/>
                </a:cxn>
                <a:cxn ang="0">
                  <a:pos x="166" y="23"/>
                </a:cxn>
                <a:cxn ang="0">
                  <a:pos x="153" y="17"/>
                </a:cxn>
                <a:cxn ang="0">
                  <a:pos x="147" y="13"/>
                </a:cxn>
                <a:cxn ang="0">
                  <a:pos x="141" y="10"/>
                </a:cxn>
                <a:cxn ang="0">
                  <a:pos x="137" y="5"/>
                </a:cxn>
                <a:cxn ang="0">
                  <a:pos x="132" y="0"/>
                </a:cxn>
                <a:cxn ang="0">
                  <a:pos x="124" y="3"/>
                </a:cxn>
                <a:cxn ang="0">
                  <a:pos x="114" y="7"/>
                </a:cxn>
                <a:cxn ang="0">
                  <a:pos x="105" y="12"/>
                </a:cxn>
                <a:cxn ang="0">
                  <a:pos x="95" y="17"/>
                </a:cxn>
                <a:cxn ang="0">
                  <a:pos x="75" y="29"/>
                </a:cxn>
                <a:cxn ang="0">
                  <a:pos x="57" y="42"/>
                </a:cxn>
                <a:cxn ang="0">
                  <a:pos x="38" y="56"/>
                </a:cxn>
                <a:cxn ang="0">
                  <a:pos x="23" y="70"/>
                </a:cxn>
                <a:cxn ang="0">
                  <a:pos x="9" y="83"/>
                </a:cxn>
                <a:cxn ang="0">
                  <a:pos x="0" y="93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7" y="35"/>
                </a:cxn>
                <a:cxn ang="0">
                  <a:pos x="14" y="38"/>
                </a:cxn>
                <a:cxn ang="0">
                  <a:pos x="20" y="42"/>
                </a:cxn>
                <a:cxn ang="0">
                  <a:pos x="26" y="47"/>
                </a:cxn>
                <a:cxn ang="0">
                  <a:pos x="32" y="51"/>
                </a:cxn>
                <a:cxn ang="0">
                  <a:pos x="36" y="54"/>
                </a:cxn>
                <a:cxn ang="0">
                  <a:pos x="41" y="56"/>
                </a:cxn>
                <a:cxn ang="0">
                  <a:pos x="47" y="57"/>
                </a:cxn>
                <a:cxn ang="0">
                  <a:pos x="55" y="57"/>
                </a:cxn>
                <a:cxn ang="0">
                  <a:pos x="62" y="56"/>
                </a:cxn>
                <a:cxn ang="0">
                  <a:pos x="70" y="55"/>
                </a:cxn>
                <a:cxn ang="0">
                  <a:pos x="77" y="53"/>
                </a:cxn>
                <a:cxn ang="0">
                  <a:pos x="83" y="50"/>
                </a:cxn>
                <a:cxn ang="0">
                  <a:pos x="89" y="48"/>
                </a:cxn>
                <a:cxn ang="0">
                  <a:pos x="93" y="44"/>
                </a:cxn>
                <a:cxn ang="0">
                  <a:pos x="97" y="40"/>
                </a:cxn>
                <a:cxn ang="0">
                  <a:pos x="106" y="32"/>
                </a:cxn>
                <a:cxn ang="0">
                  <a:pos x="112" y="23"/>
                </a:cxn>
                <a:cxn ang="0">
                  <a:pos x="116" y="13"/>
                </a:cxn>
                <a:cxn ang="0">
                  <a:pos x="119" y="1"/>
                </a:cxn>
                <a:cxn ang="0">
                  <a:pos x="101" y="0"/>
                </a:cxn>
                <a:cxn ang="0">
                  <a:pos x="82" y="0"/>
                </a:cxn>
                <a:cxn ang="0">
                  <a:pos x="63" y="2"/>
                </a:cxn>
                <a:cxn ang="0">
                  <a:pos x="45" y="5"/>
                </a:cxn>
                <a:cxn ang="0">
                  <a:pos x="36" y="7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5" y="16"/>
                </a:cxn>
                <a:cxn ang="0">
                  <a:pos x="10" y="19"/>
                </a:cxn>
                <a:cxn ang="0">
                  <a:pos x="5" y="23"/>
                </a:cxn>
                <a:cxn ang="0">
                  <a:pos x="2" y="27"/>
                </a:cxn>
                <a:cxn ang="0">
                  <a:pos x="0" y="32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3" y="52"/>
                </a:cxn>
                <a:cxn ang="0">
                  <a:pos x="17" y="52"/>
                </a:cxn>
                <a:cxn ang="0">
                  <a:pos x="24" y="50"/>
                </a:cxn>
                <a:cxn ang="0">
                  <a:pos x="34" y="50"/>
                </a:cxn>
                <a:cxn ang="0">
                  <a:pos x="43" y="49"/>
                </a:cxn>
                <a:cxn ang="0">
                  <a:pos x="53" y="48"/>
                </a:cxn>
                <a:cxn ang="0">
                  <a:pos x="62" y="47"/>
                </a:cxn>
                <a:cxn ang="0">
                  <a:pos x="70" y="43"/>
                </a:cxn>
                <a:cxn ang="0">
                  <a:pos x="79" y="40"/>
                </a:cxn>
                <a:cxn ang="0">
                  <a:pos x="88" y="36"/>
                </a:cxn>
                <a:cxn ang="0">
                  <a:pos x="97" y="31"/>
                </a:cxn>
                <a:cxn ang="0">
                  <a:pos x="107" y="24"/>
                </a:cxn>
                <a:cxn ang="0">
                  <a:pos x="107" y="0"/>
                </a:cxn>
                <a:cxn ang="0">
                  <a:pos x="98" y="1"/>
                </a:cxn>
                <a:cxn ang="0">
                  <a:pos x="86" y="3"/>
                </a:cxn>
                <a:cxn ang="0">
                  <a:pos x="72" y="7"/>
                </a:cxn>
                <a:cxn ang="0">
                  <a:pos x="56" y="13"/>
                </a:cxn>
                <a:cxn ang="0">
                  <a:pos x="41" y="20"/>
                </a:cxn>
                <a:cxn ang="0">
                  <a:pos x="25" y="28"/>
                </a:cxn>
                <a:cxn ang="0">
                  <a:pos x="19" y="33"/>
                </a:cxn>
                <a:cxn ang="0">
                  <a:pos x="12" y="38"/>
                </a:cxn>
                <a:cxn ang="0">
                  <a:pos x="6" y="43"/>
                </a:cxn>
                <a:cxn ang="0">
                  <a:pos x="0" y="50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/>
              <a:ahLst/>
              <a:cxnLst>
                <a:cxn ang="0">
                  <a:pos x="27" y="99"/>
                </a:cxn>
                <a:cxn ang="0">
                  <a:pos x="22" y="97"/>
                </a:cxn>
                <a:cxn ang="0">
                  <a:pos x="17" y="96"/>
                </a:cxn>
                <a:cxn ang="0">
                  <a:pos x="12" y="93"/>
                </a:cxn>
                <a:cxn ang="0">
                  <a:pos x="9" y="90"/>
                </a:cxn>
                <a:cxn ang="0">
                  <a:pos x="6" y="86"/>
                </a:cxn>
                <a:cxn ang="0">
                  <a:pos x="2" y="82"/>
                </a:cxn>
                <a:cxn ang="0">
                  <a:pos x="1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1" y="65"/>
                </a:cxn>
                <a:cxn ang="0">
                  <a:pos x="3" y="60"/>
                </a:cxn>
                <a:cxn ang="0">
                  <a:pos x="5" y="56"/>
                </a:cxn>
                <a:cxn ang="0">
                  <a:pos x="10" y="49"/>
                </a:cxn>
                <a:cxn ang="0">
                  <a:pos x="18" y="41"/>
                </a:cxn>
                <a:cxn ang="0">
                  <a:pos x="25" y="34"/>
                </a:cxn>
                <a:cxn ang="0">
                  <a:pos x="35" y="28"/>
                </a:cxn>
                <a:cxn ang="0">
                  <a:pos x="46" y="23"/>
                </a:cxn>
                <a:cxn ang="0">
                  <a:pos x="57" y="18"/>
                </a:cxn>
                <a:cxn ang="0">
                  <a:pos x="69" y="14"/>
                </a:cxn>
                <a:cxn ang="0">
                  <a:pos x="81" y="10"/>
                </a:cxn>
                <a:cxn ang="0">
                  <a:pos x="92" y="7"/>
                </a:cxn>
                <a:cxn ang="0">
                  <a:pos x="104" y="4"/>
                </a:cxn>
                <a:cxn ang="0">
                  <a:pos x="124" y="1"/>
                </a:cxn>
                <a:cxn ang="0">
                  <a:pos x="140" y="0"/>
                </a:cxn>
                <a:cxn ang="0">
                  <a:pos x="168" y="0"/>
                </a:cxn>
                <a:cxn ang="0">
                  <a:pos x="193" y="1"/>
                </a:cxn>
                <a:cxn ang="0">
                  <a:pos x="219" y="2"/>
                </a:cxn>
                <a:cxn ang="0">
                  <a:pos x="246" y="6"/>
                </a:cxn>
                <a:cxn ang="0">
                  <a:pos x="244" y="11"/>
                </a:cxn>
                <a:cxn ang="0">
                  <a:pos x="241" y="15"/>
                </a:cxn>
                <a:cxn ang="0">
                  <a:pos x="236" y="20"/>
                </a:cxn>
                <a:cxn ang="0">
                  <a:pos x="231" y="26"/>
                </a:cxn>
                <a:cxn ang="0">
                  <a:pos x="215" y="36"/>
                </a:cxn>
                <a:cxn ang="0">
                  <a:pos x="199" y="46"/>
                </a:cxn>
                <a:cxn ang="0">
                  <a:pos x="180" y="55"/>
                </a:cxn>
                <a:cxn ang="0">
                  <a:pos x="162" y="61"/>
                </a:cxn>
                <a:cxn ang="0">
                  <a:pos x="152" y="64"/>
                </a:cxn>
                <a:cxn ang="0">
                  <a:pos x="143" y="66"/>
                </a:cxn>
                <a:cxn ang="0">
                  <a:pos x="134" y="67"/>
                </a:cxn>
                <a:cxn ang="0">
                  <a:pos x="126" y="67"/>
                </a:cxn>
                <a:cxn ang="0">
                  <a:pos x="120" y="67"/>
                </a:cxn>
                <a:cxn ang="0">
                  <a:pos x="110" y="67"/>
                </a:cxn>
                <a:cxn ang="0">
                  <a:pos x="100" y="67"/>
                </a:cxn>
                <a:cxn ang="0">
                  <a:pos x="93" y="67"/>
                </a:cxn>
                <a:cxn ang="0">
                  <a:pos x="88" y="69"/>
                </a:cxn>
                <a:cxn ang="0">
                  <a:pos x="80" y="72"/>
                </a:cxn>
                <a:cxn ang="0">
                  <a:pos x="72" y="77"/>
                </a:cxn>
                <a:cxn ang="0">
                  <a:pos x="63" y="83"/>
                </a:cxn>
                <a:cxn ang="0">
                  <a:pos x="53" y="88"/>
                </a:cxn>
                <a:cxn ang="0">
                  <a:pos x="44" y="93"/>
                </a:cxn>
                <a:cxn ang="0">
                  <a:pos x="35" y="96"/>
                </a:cxn>
                <a:cxn ang="0">
                  <a:pos x="27" y="99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/>
              <a:ahLst/>
              <a:cxnLst>
                <a:cxn ang="0">
                  <a:pos x="33" y="88"/>
                </a:cxn>
                <a:cxn ang="0">
                  <a:pos x="10" y="78"/>
                </a:cxn>
                <a:cxn ang="0">
                  <a:pos x="0" y="55"/>
                </a:cxn>
                <a:cxn ang="0">
                  <a:pos x="20" y="37"/>
                </a:cxn>
                <a:cxn ang="0">
                  <a:pos x="40" y="37"/>
                </a:cxn>
                <a:cxn ang="0">
                  <a:pos x="61" y="37"/>
                </a:cxn>
                <a:cxn ang="0">
                  <a:pos x="72" y="36"/>
                </a:cxn>
                <a:cxn ang="0">
                  <a:pos x="83" y="33"/>
                </a:cxn>
                <a:cxn ang="0">
                  <a:pos x="104" y="23"/>
                </a:cxn>
                <a:cxn ang="0">
                  <a:pos x="123" y="11"/>
                </a:cxn>
                <a:cxn ang="0">
                  <a:pos x="146" y="0"/>
                </a:cxn>
                <a:cxn ang="0">
                  <a:pos x="161" y="8"/>
                </a:cxn>
                <a:cxn ang="0">
                  <a:pos x="181" y="12"/>
                </a:cxn>
                <a:cxn ang="0">
                  <a:pos x="190" y="10"/>
                </a:cxn>
                <a:cxn ang="0">
                  <a:pos x="201" y="6"/>
                </a:cxn>
                <a:cxn ang="0">
                  <a:pos x="213" y="0"/>
                </a:cxn>
                <a:cxn ang="0">
                  <a:pos x="232" y="6"/>
                </a:cxn>
                <a:cxn ang="0">
                  <a:pos x="228" y="18"/>
                </a:cxn>
                <a:cxn ang="0">
                  <a:pos x="219" y="25"/>
                </a:cxn>
                <a:cxn ang="0">
                  <a:pos x="207" y="30"/>
                </a:cxn>
                <a:cxn ang="0">
                  <a:pos x="201" y="43"/>
                </a:cxn>
                <a:cxn ang="0">
                  <a:pos x="206" y="62"/>
                </a:cxn>
                <a:cxn ang="0">
                  <a:pos x="185" y="85"/>
                </a:cxn>
                <a:cxn ang="0">
                  <a:pos x="157" y="96"/>
                </a:cxn>
                <a:cxn ang="0">
                  <a:pos x="139" y="98"/>
                </a:cxn>
                <a:cxn ang="0">
                  <a:pos x="116" y="100"/>
                </a:cxn>
                <a:cxn ang="0">
                  <a:pos x="96" y="106"/>
                </a:cxn>
                <a:cxn ang="0">
                  <a:pos x="82" y="115"/>
                </a:cxn>
                <a:cxn ang="0">
                  <a:pos x="67" y="122"/>
                </a:cxn>
                <a:cxn ang="0">
                  <a:pos x="58" y="122"/>
                </a:cxn>
                <a:cxn ang="0">
                  <a:pos x="53" y="115"/>
                </a:cxn>
                <a:cxn ang="0">
                  <a:pos x="48" y="100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3" y="156"/>
                </a:cxn>
                <a:cxn ang="0">
                  <a:pos x="9" y="162"/>
                </a:cxn>
                <a:cxn ang="0">
                  <a:pos x="17" y="167"/>
                </a:cxn>
                <a:cxn ang="0">
                  <a:pos x="31" y="170"/>
                </a:cxn>
                <a:cxn ang="0">
                  <a:pos x="51" y="172"/>
                </a:cxn>
                <a:cxn ang="0">
                  <a:pos x="73" y="172"/>
                </a:cxn>
                <a:cxn ang="0">
                  <a:pos x="99" y="167"/>
                </a:cxn>
                <a:cxn ang="0">
                  <a:pos x="139" y="156"/>
                </a:cxn>
                <a:cxn ang="0">
                  <a:pos x="189" y="135"/>
                </a:cxn>
                <a:cxn ang="0">
                  <a:pos x="240" y="113"/>
                </a:cxn>
                <a:cxn ang="0">
                  <a:pos x="287" y="100"/>
                </a:cxn>
                <a:cxn ang="0">
                  <a:pos x="350" y="87"/>
                </a:cxn>
                <a:cxn ang="0">
                  <a:pos x="401" y="75"/>
                </a:cxn>
                <a:cxn ang="0">
                  <a:pos x="434" y="64"/>
                </a:cxn>
                <a:cxn ang="0">
                  <a:pos x="461" y="52"/>
                </a:cxn>
                <a:cxn ang="0">
                  <a:pos x="475" y="42"/>
                </a:cxn>
                <a:cxn ang="0">
                  <a:pos x="482" y="35"/>
                </a:cxn>
                <a:cxn ang="0">
                  <a:pos x="449" y="26"/>
                </a:cxn>
                <a:cxn ang="0">
                  <a:pos x="387" y="16"/>
                </a:cxn>
                <a:cxn ang="0">
                  <a:pos x="331" y="6"/>
                </a:cxn>
                <a:cxn ang="0">
                  <a:pos x="272" y="0"/>
                </a:cxn>
                <a:cxn ang="0">
                  <a:pos x="225" y="0"/>
                </a:cxn>
                <a:cxn ang="0">
                  <a:pos x="203" y="4"/>
                </a:cxn>
                <a:cxn ang="0">
                  <a:pos x="186" y="8"/>
                </a:cxn>
                <a:cxn ang="0">
                  <a:pos x="176" y="6"/>
                </a:cxn>
                <a:cxn ang="0">
                  <a:pos x="169" y="3"/>
                </a:cxn>
                <a:cxn ang="0">
                  <a:pos x="165" y="8"/>
                </a:cxn>
                <a:cxn ang="0">
                  <a:pos x="161" y="24"/>
                </a:cxn>
                <a:cxn ang="0">
                  <a:pos x="154" y="36"/>
                </a:cxn>
                <a:cxn ang="0">
                  <a:pos x="144" y="46"/>
                </a:cxn>
                <a:cxn ang="0">
                  <a:pos x="127" y="58"/>
                </a:cxn>
                <a:cxn ang="0">
                  <a:pos x="97" y="69"/>
                </a:cxn>
                <a:cxn ang="0">
                  <a:pos x="66" y="78"/>
                </a:cxn>
                <a:cxn ang="0">
                  <a:pos x="38" y="88"/>
                </a:cxn>
                <a:cxn ang="0">
                  <a:pos x="19" y="98"/>
                </a:cxn>
                <a:cxn ang="0">
                  <a:pos x="10" y="107"/>
                </a:cxn>
                <a:cxn ang="0">
                  <a:pos x="3" y="119"/>
                </a:cxn>
                <a:cxn ang="0">
                  <a:pos x="0" y="134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/>
              <a:ahLst/>
              <a:cxnLst>
                <a:cxn ang="0">
                  <a:pos x="317" y="5"/>
                </a:cxn>
                <a:cxn ang="0">
                  <a:pos x="304" y="27"/>
                </a:cxn>
                <a:cxn ang="0">
                  <a:pos x="297" y="41"/>
                </a:cxn>
                <a:cxn ang="0">
                  <a:pos x="299" y="43"/>
                </a:cxn>
                <a:cxn ang="0">
                  <a:pos x="337" y="39"/>
                </a:cxn>
                <a:cxn ang="0">
                  <a:pos x="372" y="19"/>
                </a:cxn>
                <a:cxn ang="0">
                  <a:pos x="379" y="38"/>
                </a:cxn>
                <a:cxn ang="0">
                  <a:pos x="377" y="55"/>
                </a:cxn>
                <a:cxn ang="0">
                  <a:pos x="405" y="69"/>
                </a:cxn>
                <a:cxn ang="0">
                  <a:pos x="511" y="51"/>
                </a:cxn>
                <a:cxn ang="0">
                  <a:pos x="514" y="70"/>
                </a:cxn>
                <a:cxn ang="0">
                  <a:pos x="541" y="63"/>
                </a:cxn>
                <a:cxn ang="0">
                  <a:pos x="557" y="45"/>
                </a:cxn>
                <a:cxn ang="0">
                  <a:pos x="558" y="19"/>
                </a:cxn>
                <a:cxn ang="0">
                  <a:pos x="563" y="8"/>
                </a:cxn>
                <a:cxn ang="0">
                  <a:pos x="579" y="0"/>
                </a:cxn>
                <a:cxn ang="0">
                  <a:pos x="624" y="3"/>
                </a:cxn>
                <a:cxn ang="0">
                  <a:pos x="645" y="0"/>
                </a:cxn>
                <a:cxn ang="0">
                  <a:pos x="657" y="39"/>
                </a:cxn>
                <a:cxn ang="0">
                  <a:pos x="653" y="70"/>
                </a:cxn>
                <a:cxn ang="0">
                  <a:pos x="637" y="101"/>
                </a:cxn>
                <a:cxn ang="0">
                  <a:pos x="618" y="124"/>
                </a:cxn>
                <a:cxn ang="0">
                  <a:pos x="648" y="137"/>
                </a:cxn>
                <a:cxn ang="0">
                  <a:pos x="672" y="145"/>
                </a:cxn>
                <a:cxn ang="0">
                  <a:pos x="684" y="180"/>
                </a:cxn>
                <a:cxn ang="0">
                  <a:pos x="639" y="185"/>
                </a:cxn>
                <a:cxn ang="0">
                  <a:pos x="608" y="181"/>
                </a:cxn>
                <a:cxn ang="0">
                  <a:pos x="574" y="180"/>
                </a:cxn>
                <a:cxn ang="0">
                  <a:pos x="564" y="184"/>
                </a:cxn>
                <a:cxn ang="0">
                  <a:pos x="542" y="200"/>
                </a:cxn>
                <a:cxn ang="0">
                  <a:pos x="524" y="209"/>
                </a:cxn>
                <a:cxn ang="0">
                  <a:pos x="493" y="209"/>
                </a:cxn>
                <a:cxn ang="0">
                  <a:pos x="452" y="204"/>
                </a:cxn>
                <a:cxn ang="0">
                  <a:pos x="422" y="198"/>
                </a:cxn>
                <a:cxn ang="0">
                  <a:pos x="337" y="211"/>
                </a:cxn>
                <a:cxn ang="0">
                  <a:pos x="231" y="230"/>
                </a:cxn>
                <a:cxn ang="0">
                  <a:pos x="169" y="238"/>
                </a:cxn>
                <a:cxn ang="0">
                  <a:pos x="124" y="238"/>
                </a:cxn>
                <a:cxn ang="0">
                  <a:pos x="100" y="228"/>
                </a:cxn>
                <a:cxn ang="0">
                  <a:pos x="67" y="208"/>
                </a:cxn>
                <a:cxn ang="0">
                  <a:pos x="29" y="196"/>
                </a:cxn>
                <a:cxn ang="0">
                  <a:pos x="0" y="173"/>
                </a:cxn>
                <a:cxn ang="0">
                  <a:pos x="64" y="159"/>
                </a:cxn>
                <a:cxn ang="0">
                  <a:pos x="100" y="154"/>
                </a:cxn>
                <a:cxn ang="0">
                  <a:pos x="156" y="160"/>
                </a:cxn>
                <a:cxn ang="0">
                  <a:pos x="201" y="165"/>
                </a:cxn>
                <a:cxn ang="0">
                  <a:pos x="224" y="162"/>
                </a:cxn>
                <a:cxn ang="0">
                  <a:pos x="26" y="136"/>
                </a:cxn>
                <a:cxn ang="0">
                  <a:pos x="52" y="128"/>
                </a:cxn>
                <a:cxn ang="0">
                  <a:pos x="109" y="117"/>
                </a:cxn>
                <a:cxn ang="0">
                  <a:pos x="165" y="108"/>
                </a:cxn>
                <a:cxn ang="0">
                  <a:pos x="187" y="99"/>
                </a:cxn>
                <a:cxn ang="0">
                  <a:pos x="166" y="93"/>
                </a:cxn>
                <a:cxn ang="0">
                  <a:pos x="125" y="98"/>
                </a:cxn>
                <a:cxn ang="0">
                  <a:pos x="71" y="110"/>
                </a:cxn>
                <a:cxn ang="0">
                  <a:pos x="52" y="106"/>
                </a:cxn>
                <a:cxn ang="0">
                  <a:pos x="55" y="90"/>
                </a:cxn>
                <a:cxn ang="0">
                  <a:pos x="54" y="81"/>
                </a:cxn>
                <a:cxn ang="0">
                  <a:pos x="59" y="78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/>
              <a:ahLst/>
              <a:cxnLst>
                <a:cxn ang="0">
                  <a:pos x="180" y="38"/>
                </a:cxn>
                <a:cxn ang="0">
                  <a:pos x="202" y="24"/>
                </a:cxn>
                <a:cxn ang="0">
                  <a:pos x="226" y="7"/>
                </a:cxn>
                <a:cxn ang="0">
                  <a:pos x="240" y="1"/>
                </a:cxn>
                <a:cxn ang="0">
                  <a:pos x="246" y="1"/>
                </a:cxn>
                <a:cxn ang="0">
                  <a:pos x="245" y="12"/>
                </a:cxn>
                <a:cxn ang="0">
                  <a:pos x="234" y="33"/>
                </a:cxn>
                <a:cxn ang="0">
                  <a:pos x="217" y="55"/>
                </a:cxn>
                <a:cxn ang="0">
                  <a:pos x="202" y="67"/>
                </a:cxn>
                <a:cxn ang="0">
                  <a:pos x="191" y="71"/>
                </a:cxn>
                <a:cxn ang="0">
                  <a:pos x="191" y="73"/>
                </a:cxn>
                <a:cxn ang="0">
                  <a:pos x="201" y="74"/>
                </a:cxn>
                <a:cxn ang="0">
                  <a:pos x="216" y="72"/>
                </a:cxn>
                <a:cxn ang="0">
                  <a:pos x="224" y="77"/>
                </a:cxn>
                <a:cxn ang="0">
                  <a:pos x="217" y="88"/>
                </a:cxn>
                <a:cxn ang="0">
                  <a:pos x="214" y="97"/>
                </a:cxn>
                <a:cxn ang="0">
                  <a:pos x="217" y="105"/>
                </a:cxn>
                <a:cxn ang="0">
                  <a:pos x="249" y="113"/>
                </a:cxn>
                <a:cxn ang="0">
                  <a:pos x="308" y="124"/>
                </a:cxn>
                <a:cxn ang="0">
                  <a:pos x="322" y="131"/>
                </a:cxn>
                <a:cxn ang="0">
                  <a:pos x="315" y="140"/>
                </a:cxn>
                <a:cxn ang="0">
                  <a:pos x="303" y="149"/>
                </a:cxn>
                <a:cxn ang="0">
                  <a:pos x="299" y="154"/>
                </a:cxn>
                <a:cxn ang="0">
                  <a:pos x="302" y="160"/>
                </a:cxn>
                <a:cxn ang="0">
                  <a:pos x="308" y="168"/>
                </a:cxn>
                <a:cxn ang="0">
                  <a:pos x="319" y="176"/>
                </a:cxn>
                <a:cxn ang="0">
                  <a:pos x="329" y="184"/>
                </a:cxn>
                <a:cxn ang="0">
                  <a:pos x="290" y="211"/>
                </a:cxn>
                <a:cxn ang="0">
                  <a:pos x="241" y="241"/>
                </a:cxn>
                <a:cxn ang="0">
                  <a:pos x="207" y="268"/>
                </a:cxn>
                <a:cxn ang="0">
                  <a:pos x="173" y="244"/>
                </a:cxn>
                <a:cxn ang="0">
                  <a:pos x="182" y="243"/>
                </a:cxn>
                <a:cxn ang="0">
                  <a:pos x="189" y="240"/>
                </a:cxn>
                <a:cxn ang="0">
                  <a:pos x="200" y="232"/>
                </a:cxn>
                <a:cxn ang="0">
                  <a:pos x="149" y="232"/>
                </a:cxn>
                <a:cxn ang="0">
                  <a:pos x="101" y="232"/>
                </a:cxn>
                <a:cxn ang="0">
                  <a:pos x="58" y="232"/>
                </a:cxn>
                <a:cxn ang="0">
                  <a:pos x="27" y="232"/>
                </a:cxn>
                <a:cxn ang="0">
                  <a:pos x="11" y="227"/>
                </a:cxn>
                <a:cxn ang="0">
                  <a:pos x="3" y="222"/>
                </a:cxn>
                <a:cxn ang="0">
                  <a:pos x="0" y="213"/>
                </a:cxn>
                <a:cxn ang="0">
                  <a:pos x="4" y="205"/>
                </a:cxn>
                <a:cxn ang="0">
                  <a:pos x="13" y="197"/>
                </a:cxn>
                <a:cxn ang="0">
                  <a:pos x="41" y="179"/>
                </a:cxn>
                <a:cxn ang="0">
                  <a:pos x="73" y="162"/>
                </a:cxn>
                <a:cxn ang="0">
                  <a:pos x="85" y="152"/>
                </a:cxn>
                <a:cxn ang="0">
                  <a:pos x="93" y="145"/>
                </a:cxn>
                <a:cxn ang="0">
                  <a:pos x="106" y="130"/>
                </a:cxn>
                <a:cxn ang="0">
                  <a:pos x="116" y="114"/>
                </a:cxn>
                <a:cxn ang="0">
                  <a:pos x="130" y="79"/>
                </a:cxn>
                <a:cxn ang="0">
                  <a:pos x="138" y="64"/>
                </a:cxn>
                <a:cxn ang="0">
                  <a:pos x="147" y="52"/>
                </a:cxn>
                <a:cxn ang="0">
                  <a:pos x="158" y="43"/>
                </a:cxn>
                <a:cxn ang="0">
                  <a:pos x="173" y="40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/>
              <a:ahLst/>
              <a:cxnLst>
                <a:cxn ang="0">
                  <a:pos x="106" y="86"/>
                </a:cxn>
                <a:cxn ang="0">
                  <a:pos x="119" y="81"/>
                </a:cxn>
                <a:cxn ang="0">
                  <a:pos x="133" y="76"/>
                </a:cxn>
                <a:cxn ang="0">
                  <a:pos x="148" y="72"/>
                </a:cxn>
                <a:cxn ang="0">
                  <a:pos x="164" y="69"/>
                </a:cxn>
                <a:cxn ang="0">
                  <a:pos x="197" y="63"/>
                </a:cxn>
                <a:cxn ang="0">
                  <a:pos x="231" y="57"/>
                </a:cxn>
                <a:cxn ang="0">
                  <a:pos x="247" y="53"/>
                </a:cxn>
                <a:cxn ang="0">
                  <a:pos x="264" y="50"/>
                </a:cxn>
                <a:cxn ang="0">
                  <a:pos x="279" y="46"/>
                </a:cxn>
                <a:cxn ang="0">
                  <a:pos x="294" y="40"/>
                </a:cxn>
                <a:cxn ang="0">
                  <a:pos x="309" y="35"/>
                </a:cxn>
                <a:cxn ang="0">
                  <a:pos x="322" y="28"/>
                </a:cxn>
                <a:cxn ang="0">
                  <a:pos x="334" y="21"/>
                </a:cxn>
                <a:cxn ang="0">
                  <a:pos x="345" y="13"/>
                </a:cxn>
                <a:cxn ang="0">
                  <a:pos x="335" y="12"/>
                </a:cxn>
                <a:cxn ang="0">
                  <a:pos x="326" y="11"/>
                </a:cxn>
                <a:cxn ang="0">
                  <a:pos x="317" y="9"/>
                </a:cxn>
                <a:cxn ang="0">
                  <a:pos x="309" y="6"/>
                </a:cxn>
                <a:cxn ang="0">
                  <a:pos x="300" y="4"/>
                </a:cxn>
                <a:cxn ang="0">
                  <a:pos x="291" y="2"/>
                </a:cxn>
                <a:cxn ang="0">
                  <a:pos x="281" y="1"/>
                </a:cxn>
                <a:cxn ang="0">
                  <a:pos x="272" y="0"/>
                </a:cxn>
                <a:cxn ang="0">
                  <a:pos x="259" y="1"/>
                </a:cxn>
                <a:cxn ang="0">
                  <a:pos x="245" y="3"/>
                </a:cxn>
                <a:cxn ang="0">
                  <a:pos x="227" y="5"/>
                </a:cxn>
                <a:cxn ang="0">
                  <a:pos x="209" y="9"/>
                </a:cxn>
                <a:cxn ang="0">
                  <a:pos x="168" y="18"/>
                </a:cxn>
                <a:cxn ang="0">
                  <a:pos x="126" y="29"/>
                </a:cxn>
                <a:cxn ang="0">
                  <a:pos x="104" y="36"/>
                </a:cxn>
                <a:cxn ang="0">
                  <a:pos x="85" y="42"/>
                </a:cxn>
                <a:cxn ang="0">
                  <a:pos x="66" y="50"/>
                </a:cxn>
                <a:cxn ang="0">
                  <a:pos x="47" y="58"/>
                </a:cxn>
                <a:cxn ang="0">
                  <a:pos x="32" y="65"/>
                </a:cxn>
                <a:cxn ang="0">
                  <a:pos x="19" y="72"/>
                </a:cxn>
                <a:cxn ang="0">
                  <a:pos x="8" y="79"/>
                </a:cxn>
                <a:cxn ang="0">
                  <a:pos x="0" y="86"/>
                </a:cxn>
                <a:cxn ang="0">
                  <a:pos x="106" y="86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/>
              <a:ahLst/>
              <a:cxnLst>
                <a:cxn ang="0">
                  <a:pos x="19" y="86"/>
                </a:cxn>
                <a:cxn ang="0">
                  <a:pos x="77" y="81"/>
                </a:cxn>
                <a:cxn ang="0">
                  <a:pos x="103" y="81"/>
                </a:cxn>
                <a:cxn ang="0">
                  <a:pos x="92" y="89"/>
                </a:cxn>
                <a:cxn ang="0">
                  <a:pos x="81" y="100"/>
                </a:cxn>
                <a:cxn ang="0">
                  <a:pos x="73" y="112"/>
                </a:cxn>
                <a:cxn ang="0">
                  <a:pos x="73" y="119"/>
                </a:cxn>
                <a:cxn ang="0">
                  <a:pos x="79" y="124"/>
                </a:cxn>
                <a:cxn ang="0">
                  <a:pos x="92" y="129"/>
                </a:cxn>
                <a:cxn ang="0">
                  <a:pos x="109" y="129"/>
                </a:cxn>
                <a:cxn ang="0">
                  <a:pos x="128" y="127"/>
                </a:cxn>
                <a:cxn ang="0">
                  <a:pos x="157" y="119"/>
                </a:cxn>
                <a:cxn ang="0">
                  <a:pos x="196" y="108"/>
                </a:cxn>
                <a:cxn ang="0">
                  <a:pos x="226" y="101"/>
                </a:cxn>
                <a:cxn ang="0">
                  <a:pos x="248" y="99"/>
                </a:cxn>
                <a:cxn ang="0">
                  <a:pos x="266" y="99"/>
                </a:cxn>
                <a:cxn ang="0">
                  <a:pos x="304" y="99"/>
                </a:cxn>
                <a:cxn ang="0">
                  <a:pos x="333" y="98"/>
                </a:cxn>
                <a:cxn ang="0">
                  <a:pos x="376" y="93"/>
                </a:cxn>
                <a:cxn ang="0">
                  <a:pos x="415" y="83"/>
                </a:cxn>
                <a:cxn ang="0">
                  <a:pos x="449" y="66"/>
                </a:cxn>
                <a:cxn ang="0">
                  <a:pos x="455" y="51"/>
                </a:cxn>
                <a:cxn ang="0">
                  <a:pos x="439" y="48"/>
                </a:cxn>
                <a:cxn ang="0">
                  <a:pos x="413" y="48"/>
                </a:cxn>
                <a:cxn ang="0">
                  <a:pos x="396" y="46"/>
                </a:cxn>
                <a:cxn ang="0">
                  <a:pos x="406" y="36"/>
                </a:cxn>
                <a:cxn ang="0">
                  <a:pos x="413" y="22"/>
                </a:cxn>
                <a:cxn ang="0">
                  <a:pos x="418" y="7"/>
                </a:cxn>
                <a:cxn ang="0">
                  <a:pos x="378" y="0"/>
                </a:cxn>
                <a:cxn ang="0">
                  <a:pos x="360" y="19"/>
                </a:cxn>
                <a:cxn ang="0">
                  <a:pos x="343" y="41"/>
                </a:cxn>
                <a:cxn ang="0">
                  <a:pos x="323" y="59"/>
                </a:cxn>
                <a:cxn ang="0">
                  <a:pos x="312" y="65"/>
                </a:cxn>
                <a:cxn ang="0">
                  <a:pos x="298" y="68"/>
                </a:cxn>
                <a:cxn ang="0">
                  <a:pos x="278" y="66"/>
                </a:cxn>
                <a:cxn ang="0">
                  <a:pos x="262" y="63"/>
                </a:cxn>
                <a:cxn ang="0">
                  <a:pos x="239" y="54"/>
                </a:cxn>
                <a:cxn ang="0">
                  <a:pos x="205" y="31"/>
                </a:cxn>
                <a:cxn ang="0">
                  <a:pos x="180" y="29"/>
                </a:cxn>
                <a:cxn ang="0">
                  <a:pos x="150" y="31"/>
                </a:cxn>
                <a:cxn ang="0">
                  <a:pos x="117" y="37"/>
                </a:cxn>
                <a:cxn ang="0">
                  <a:pos x="85" y="45"/>
                </a:cxn>
                <a:cxn ang="0">
                  <a:pos x="54" y="54"/>
                </a:cxn>
                <a:cxn ang="0">
                  <a:pos x="29" y="65"/>
                </a:cxn>
                <a:cxn ang="0">
                  <a:pos x="9" y="77"/>
                </a:cxn>
                <a:cxn ang="0">
                  <a:pos x="0" y="86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/>
              <a:ahLst/>
              <a:cxnLst>
                <a:cxn ang="0">
                  <a:pos x="63" y="0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12" y="3"/>
                </a:cxn>
                <a:cxn ang="0">
                  <a:pos x="7" y="8"/>
                </a:cxn>
                <a:cxn ang="0">
                  <a:pos x="7" y="16"/>
                </a:cxn>
                <a:cxn ang="0">
                  <a:pos x="10" y="23"/>
                </a:cxn>
                <a:cxn ang="0">
                  <a:pos x="15" y="32"/>
                </a:cxn>
                <a:cxn ang="0">
                  <a:pos x="14" y="41"/>
                </a:cxn>
                <a:cxn ang="0">
                  <a:pos x="4" y="50"/>
                </a:cxn>
                <a:cxn ang="0">
                  <a:pos x="1" y="57"/>
                </a:cxn>
                <a:cxn ang="0">
                  <a:pos x="2" y="64"/>
                </a:cxn>
                <a:cxn ang="0">
                  <a:pos x="14" y="69"/>
                </a:cxn>
                <a:cxn ang="0">
                  <a:pos x="48" y="76"/>
                </a:cxn>
                <a:cxn ang="0">
                  <a:pos x="109" y="85"/>
                </a:cxn>
                <a:cxn ang="0">
                  <a:pos x="167" y="91"/>
                </a:cxn>
                <a:cxn ang="0">
                  <a:pos x="365" y="92"/>
                </a:cxn>
                <a:cxn ang="0">
                  <a:pos x="374" y="81"/>
                </a:cxn>
                <a:cxn ang="0">
                  <a:pos x="385" y="75"/>
                </a:cxn>
                <a:cxn ang="0">
                  <a:pos x="397" y="73"/>
                </a:cxn>
                <a:cxn ang="0">
                  <a:pos x="411" y="73"/>
                </a:cxn>
                <a:cxn ang="0">
                  <a:pos x="441" y="76"/>
                </a:cxn>
                <a:cxn ang="0">
                  <a:pos x="456" y="76"/>
                </a:cxn>
                <a:cxn ang="0">
                  <a:pos x="472" y="73"/>
                </a:cxn>
                <a:cxn ang="0">
                  <a:pos x="465" y="33"/>
                </a:cxn>
                <a:cxn ang="0">
                  <a:pos x="453" y="26"/>
                </a:cxn>
                <a:cxn ang="0">
                  <a:pos x="443" y="18"/>
                </a:cxn>
                <a:cxn ang="0">
                  <a:pos x="432" y="13"/>
                </a:cxn>
                <a:cxn ang="0">
                  <a:pos x="416" y="12"/>
                </a:cxn>
                <a:cxn ang="0">
                  <a:pos x="396" y="15"/>
                </a:cxn>
                <a:cxn ang="0">
                  <a:pos x="367" y="22"/>
                </a:cxn>
                <a:cxn ang="0">
                  <a:pos x="328" y="33"/>
                </a:cxn>
                <a:cxn ang="0">
                  <a:pos x="298" y="39"/>
                </a:cxn>
                <a:cxn ang="0">
                  <a:pos x="276" y="42"/>
                </a:cxn>
                <a:cxn ang="0">
                  <a:pos x="236" y="42"/>
                </a:cxn>
                <a:cxn ang="0">
                  <a:pos x="191" y="42"/>
                </a:cxn>
                <a:cxn ang="0">
                  <a:pos x="156" y="42"/>
                </a:cxn>
                <a:cxn ang="0">
                  <a:pos x="120" y="42"/>
                </a:cxn>
                <a:cxn ang="0">
                  <a:pos x="91" y="41"/>
                </a:cxn>
                <a:cxn ang="0">
                  <a:pos x="78" y="36"/>
                </a:cxn>
                <a:cxn ang="0">
                  <a:pos x="70" y="27"/>
                </a:cxn>
                <a:cxn ang="0">
                  <a:pos x="67" y="17"/>
                </a:cxn>
                <a:cxn ang="0">
                  <a:pos x="69" y="8"/>
                </a:cxn>
                <a:cxn ang="0">
                  <a:pos x="74" y="2"/>
                </a:cxn>
                <a:cxn ang="0">
                  <a:pos x="74" y="0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/>
              <a:ahLst/>
              <a:cxnLst>
                <a:cxn ang="0">
                  <a:pos x="145" y="107"/>
                </a:cxn>
                <a:cxn ang="0">
                  <a:pos x="203" y="97"/>
                </a:cxn>
                <a:cxn ang="0">
                  <a:pos x="262" y="84"/>
                </a:cxn>
                <a:cxn ang="0">
                  <a:pos x="300" y="74"/>
                </a:cxn>
                <a:cxn ang="0">
                  <a:pos x="318" y="66"/>
                </a:cxn>
                <a:cxn ang="0">
                  <a:pos x="322" y="56"/>
                </a:cxn>
                <a:cxn ang="0">
                  <a:pos x="312" y="48"/>
                </a:cxn>
                <a:cxn ang="0">
                  <a:pos x="300" y="41"/>
                </a:cxn>
                <a:cxn ang="0">
                  <a:pos x="286" y="37"/>
                </a:cxn>
                <a:cxn ang="0">
                  <a:pos x="263" y="32"/>
                </a:cxn>
                <a:cxn ang="0">
                  <a:pos x="230" y="30"/>
                </a:cxn>
                <a:cxn ang="0">
                  <a:pos x="209" y="30"/>
                </a:cxn>
                <a:cxn ang="0">
                  <a:pos x="202" y="24"/>
                </a:cxn>
                <a:cxn ang="0">
                  <a:pos x="196" y="17"/>
                </a:cxn>
                <a:cxn ang="0">
                  <a:pos x="191" y="9"/>
                </a:cxn>
                <a:cxn ang="0">
                  <a:pos x="180" y="5"/>
                </a:cxn>
                <a:cxn ang="0">
                  <a:pos x="162" y="1"/>
                </a:cxn>
                <a:cxn ang="0">
                  <a:pos x="135" y="1"/>
                </a:cxn>
                <a:cxn ang="0">
                  <a:pos x="87" y="8"/>
                </a:cxn>
                <a:cxn ang="0">
                  <a:pos x="49" y="17"/>
                </a:cxn>
                <a:cxn ang="0">
                  <a:pos x="27" y="26"/>
                </a:cxn>
                <a:cxn ang="0">
                  <a:pos x="11" y="37"/>
                </a:cxn>
                <a:cxn ang="0">
                  <a:pos x="3" y="46"/>
                </a:cxn>
                <a:cxn ang="0">
                  <a:pos x="1" y="52"/>
                </a:cxn>
                <a:cxn ang="0">
                  <a:pos x="34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8" y="99"/>
                </a:cxn>
                <a:cxn ang="0">
                  <a:pos x="44" y="114"/>
                </a:cxn>
                <a:cxn ang="0">
                  <a:pos x="48" y="128"/>
                </a:cxn>
                <a:cxn ang="0">
                  <a:pos x="55" y="134"/>
                </a:cxn>
                <a:cxn ang="0">
                  <a:pos x="69" y="135"/>
                </a:cxn>
                <a:cxn ang="0">
                  <a:pos x="86" y="131"/>
                </a:cxn>
                <a:cxn ang="0">
                  <a:pos x="101" y="127"/>
                </a:cxn>
                <a:cxn ang="0">
                  <a:pos x="117" y="124"/>
                </a:cxn>
                <a:cxn ang="0">
                  <a:pos x="120" y="11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/>
              <a:ahLst/>
              <a:cxnLst>
                <a:cxn ang="0">
                  <a:pos x="46" y="53"/>
                </a:cxn>
                <a:cxn ang="0">
                  <a:pos x="40" y="52"/>
                </a:cxn>
                <a:cxn ang="0">
                  <a:pos x="34" y="49"/>
                </a:cxn>
                <a:cxn ang="0">
                  <a:pos x="26" y="45"/>
                </a:cxn>
                <a:cxn ang="0">
                  <a:pos x="18" y="38"/>
                </a:cxn>
                <a:cxn ang="0">
                  <a:pos x="10" y="31"/>
                </a:cxn>
                <a:cxn ang="0">
                  <a:pos x="5" y="24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1" y="10"/>
                </a:cxn>
                <a:cxn ang="0">
                  <a:pos x="39" y="10"/>
                </a:cxn>
                <a:cxn ang="0">
                  <a:pos x="52" y="10"/>
                </a:cxn>
                <a:cxn ang="0">
                  <a:pos x="59" y="10"/>
                </a:cxn>
                <a:cxn ang="0">
                  <a:pos x="83" y="6"/>
                </a:cxn>
                <a:cxn ang="0">
                  <a:pos x="117" y="0"/>
                </a:cxn>
                <a:cxn ang="0">
                  <a:pos x="125" y="0"/>
                </a:cxn>
                <a:cxn ang="0">
                  <a:pos x="132" y="0"/>
                </a:cxn>
                <a:cxn ang="0">
                  <a:pos x="140" y="0"/>
                </a:cxn>
                <a:cxn ang="0">
                  <a:pos x="147" y="2"/>
                </a:cxn>
                <a:cxn ang="0">
                  <a:pos x="151" y="5"/>
                </a:cxn>
                <a:cxn ang="0">
                  <a:pos x="155" y="9"/>
                </a:cxn>
                <a:cxn ang="0">
                  <a:pos x="158" y="15"/>
                </a:cxn>
                <a:cxn ang="0">
                  <a:pos x="159" y="22"/>
                </a:cxn>
                <a:cxn ang="0">
                  <a:pos x="158" y="30"/>
                </a:cxn>
                <a:cxn ang="0">
                  <a:pos x="155" y="37"/>
                </a:cxn>
                <a:cxn ang="0">
                  <a:pos x="151" y="44"/>
                </a:cxn>
                <a:cxn ang="0">
                  <a:pos x="146" y="48"/>
                </a:cxn>
                <a:cxn ang="0">
                  <a:pos x="139" y="52"/>
                </a:cxn>
                <a:cxn ang="0">
                  <a:pos x="132" y="54"/>
                </a:cxn>
                <a:cxn ang="0">
                  <a:pos x="124" y="55"/>
                </a:cxn>
                <a:cxn ang="0">
                  <a:pos x="115" y="56"/>
                </a:cxn>
                <a:cxn ang="0">
                  <a:pos x="77" y="55"/>
                </a:cxn>
                <a:cxn ang="0">
                  <a:pos x="46" y="53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/>
              <a:ahLst/>
              <a:cxnLst>
                <a:cxn ang="0">
                  <a:pos x="2931" y="1362"/>
                </a:cxn>
                <a:cxn ang="0">
                  <a:pos x="2556" y="1522"/>
                </a:cxn>
                <a:cxn ang="0">
                  <a:pos x="2312" y="1592"/>
                </a:cxn>
                <a:cxn ang="0">
                  <a:pos x="2294" y="1634"/>
                </a:cxn>
                <a:cxn ang="0">
                  <a:pos x="2177" y="1607"/>
                </a:cxn>
                <a:cxn ang="0">
                  <a:pos x="2279" y="1512"/>
                </a:cxn>
                <a:cxn ang="0">
                  <a:pos x="2166" y="1416"/>
                </a:cxn>
                <a:cxn ang="0">
                  <a:pos x="2094" y="1295"/>
                </a:cxn>
                <a:cxn ang="0">
                  <a:pos x="1947" y="1317"/>
                </a:cxn>
                <a:cxn ang="0">
                  <a:pos x="1771" y="1281"/>
                </a:cxn>
                <a:cxn ang="0">
                  <a:pos x="261" y="1235"/>
                </a:cxn>
                <a:cxn ang="0">
                  <a:pos x="127" y="1125"/>
                </a:cxn>
                <a:cxn ang="0">
                  <a:pos x="151" y="1040"/>
                </a:cxn>
                <a:cxn ang="0">
                  <a:pos x="147" y="927"/>
                </a:cxn>
                <a:cxn ang="0">
                  <a:pos x="259" y="859"/>
                </a:cxn>
                <a:cxn ang="0">
                  <a:pos x="250" y="747"/>
                </a:cxn>
                <a:cxn ang="0">
                  <a:pos x="128" y="665"/>
                </a:cxn>
                <a:cxn ang="0">
                  <a:pos x="602" y="114"/>
                </a:cxn>
                <a:cxn ang="0">
                  <a:pos x="1146" y="105"/>
                </a:cxn>
                <a:cxn ang="0">
                  <a:pos x="1296" y="117"/>
                </a:cxn>
                <a:cxn ang="0">
                  <a:pos x="1641" y="166"/>
                </a:cxn>
                <a:cxn ang="0">
                  <a:pos x="1771" y="206"/>
                </a:cxn>
                <a:cxn ang="0">
                  <a:pos x="2076" y="193"/>
                </a:cxn>
                <a:cxn ang="0">
                  <a:pos x="2286" y="216"/>
                </a:cxn>
                <a:cxn ang="0">
                  <a:pos x="2365" y="216"/>
                </a:cxn>
                <a:cxn ang="0">
                  <a:pos x="2518" y="123"/>
                </a:cxn>
                <a:cxn ang="0">
                  <a:pos x="2587" y="2"/>
                </a:cxn>
                <a:cxn ang="0">
                  <a:pos x="2644" y="105"/>
                </a:cxn>
                <a:cxn ang="0">
                  <a:pos x="2664" y="166"/>
                </a:cxn>
                <a:cxn ang="0">
                  <a:pos x="2716" y="196"/>
                </a:cxn>
                <a:cxn ang="0">
                  <a:pos x="2891" y="121"/>
                </a:cxn>
                <a:cxn ang="0">
                  <a:pos x="3036" y="135"/>
                </a:cxn>
                <a:cxn ang="0">
                  <a:pos x="2883" y="271"/>
                </a:cxn>
                <a:cxn ang="0">
                  <a:pos x="2790" y="289"/>
                </a:cxn>
                <a:cxn ang="0">
                  <a:pos x="2569" y="304"/>
                </a:cxn>
                <a:cxn ang="0">
                  <a:pos x="2501" y="402"/>
                </a:cxn>
                <a:cxn ang="0">
                  <a:pos x="2333" y="471"/>
                </a:cxn>
                <a:cxn ang="0">
                  <a:pos x="2087" y="625"/>
                </a:cxn>
                <a:cxn ang="0">
                  <a:pos x="2106" y="793"/>
                </a:cxn>
                <a:cxn ang="0">
                  <a:pos x="2360" y="907"/>
                </a:cxn>
                <a:cxn ang="0">
                  <a:pos x="2443" y="1059"/>
                </a:cxn>
                <a:cxn ang="0">
                  <a:pos x="2614" y="987"/>
                </a:cxn>
                <a:cxn ang="0">
                  <a:pos x="2848" y="785"/>
                </a:cxn>
                <a:cxn ang="0">
                  <a:pos x="2896" y="597"/>
                </a:cxn>
                <a:cxn ang="0">
                  <a:pos x="3156" y="500"/>
                </a:cxn>
                <a:cxn ang="0">
                  <a:pos x="3276" y="592"/>
                </a:cxn>
                <a:cxn ang="0">
                  <a:pos x="3226" y="736"/>
                </a:cxn>
                <a:cxn ang="0">
                  <a:pos x="3492" y="613"/>
                </a:cxn>
                <a:cxn ang="0">
                  <a:pos x="3545" y="774"/>
                </a:cxn>
                <a:cxn ang="0">
                  <a:pos x="3662" y="924"/>
                </a:cxn>
                <a:cxn ang="0">
                  <a:pos x="3616" y="961"/>
                </a:cxn>
                <a:cxn ang="0">
                  <a:pos x="3694" y="1028"/>
                </a:cxn>
                <a:cxn ang="0">
                  <a:pos x="3556" y="1108"/>
                </a:cxn>
                <a:cxn ang="0">
                  <a:pos x="3151" y="1168"/>
                </a:cxn>
                <a:cxn ang="0">
                  <a:pos x="2853" y="1335"/>
                </a:cxn>
                <a:cxn ang="0">
                  <a:pos x="2905" y="1337"/>
                </a:cxn>
                <a:cxn ang="0">
                  <a:pos x="3216" y="1256"/>
                </a:cxn>
                <a:cxn ang="0">
                  <a:pos x="3066" y="1298"/>
                </a:cxn>
                <a:cxn ang="0">
                  <a:pos x="3138" y="1391"/>
                </a:cxn>
                <a:cxn ang="0">
                  <a:pos x="3248" y="1473"/>
                </a:cxn>
                <a:cxn ang="0">
                  <a:pos x="3018" y="1564"/>
                </a:cxn>
                <a:cxn ang="0">
                  <a:pos x="3189" y="1466"/>
                </a:cxn>
                <a:cxn ang="0">
                  <a:pos x="3016" y="1484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/>
            <a:ahLst/>
            <a:cxnLst>
              <a:cxn ang="0">
                <a:pos x="265" y="10"/>
              </a:cxn>
              <a:cxn ang="0">
                <a:pos x="276" y="37"/>
              </a:cxn>
              <a:cxn ang="0">
                <a:pos x="286" y="91"/>
              </a:cxn>
              <a:cxn ang="0">
                <a:pos x="292" y="144"/>
              </a:cxn>
              <a:cxn ang="0">
                <a:pos x="291" y="161"/>
              </a:cxn>
              <a:cxn ang="0">
                <a:pos x="286" y="179"/>
              </a:cxn>
              <a:cxn ang="0">
                <a:pos x="269" y="206"/>
              </a:cxn>
              <a:cxn ang="0">
                <a:pos x="231" y="185"/>
              </a:cxn>
              <a:cxn ang="0">
                <a:pos x="165" y="258"/>
              </a:cxn>
              <a:cxn ang="0">
                <a:pos x="132" y="278"/>
              </a:cxn>
              <a:cxn ang="0">
                <a:pos x="59" y="296"/>
              </a:cxn>
              <a:cxn ang="0">
                <a:pos x="32" y="308"/>
              </a:cxn>
              <a:cxn ang="0">
                <a:pos x="6" y="308"/>
              </a:cxn>
              <a:cxn ang="0">
                <a:pos x="9" y="297"/>
              </a:cxn>
              <a:cxn ang="0">
                <a:pos x="11" y="286"/>
              </a:cxn>
              <a:cxn ang="0">
                <a:pos x="7" y="265"/>
              </a:cxn>
              <a:cxn ang="0">
                <a:pos x="2" y="246"/>
              </a:cxn>
              <a:cxn ang="0">
                <a:pos x="0" y="228"/>
              </a:cxn>
              <a:cxn ang="0">
                <a:pos x="3" y="205"/>
              </a:cxn>
              <a:cxn ang="0">
                <a:pos x="12" y="188"/>
              </a:cxn>
              <a:cxn ang="0">
                <a:pos x="26" y="174"/>
              </a:cxn>
              <a:cxn ang="0">
                <a:pos x="42" y="161"/>
              </a:cxn>
              <a:cxn ang="0">
                <a:pos x="77" y="135"/>
              </a:cxn>
              <a:cxn ang="0">
                <a:pos x="93" y="119"/>
              </a:cxn>
              <a:cxn ang="0">
                <a:pos x="105" y="98"/>
              </a:cxn>
              <a:cxn ang="0">
                <a:pos x="98" y="96"/>
              </a:cxn>
              <a:cxn ang="0">
                <a:pos x="92" y="91"/>
              </a:cxn>
              <a:cxn ang="0">
                <a:pos x="82" y="73"/>
              </a:cxn>
              <a:cxn ang="0">
                <a:pos x="74" y="50"/>
              </a:cxn>
              <a:cxn ang="0">
                <a:pos x="72" y="24"/>
              </a:cxn>
              <a:cxn ang="0">
                <a:pos x="90" y="19"/>
              </a:cxn>
              <a:cxn ang="0">
                <a:pos x="105" y="20"/>
              </a:cxn>
              <a:cxn ang="0">
                <a:pos x="132" y="24"/>
              </a:cxn>
              <a:cxn ang="0">
                <a:pos x="169" y="21"/>
              </a:cxn>
              <a:cxn ang="0">
                <a:pos x="210" y="12"/>
              </a:cxn>
              <a:cxn ang="0">
                <a:pos x="259" y="0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3" y="3"/>
              </a:cxn>
              <a:cxn ang="0">
                <a:pos x="14" y="7"/>
              </a:cxn>
              <a:cxn ang="0">
                <a:pos x="0" y="7"/>
              </a:cxn>
              <a:cxn ang="0">
                <a:pos x="11" y="0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/>
            <a:ahLst/>
            <a:cxnLst>
              <a:cxn ang="0">
                <a:pos x="81" y="115"/>
              </a:cxn>
              <a:cxn ang="0">
                <a:pos x="104" y="152"/>
              </a:cxn>
              <a:cxn ang="0">
                <a:pos x="111" y="180"/>
              </a:cxn>
              <a:cxn ang="0">
                <a:pos x="95" y="234"/>
              </a:cxn>
              <a:cxn ang="0">
                <a:pos x="96" y="325"/>
              </a:cxn>
              <a:cxn ang="0">
                <a:pos x="93" y="363"/>
              </a:cxn>
              <a:cxn ang="0">
                <a:pos x="82" y="396"/>
              </a:cxn>
              <a:cxn ang="0">
                <a:pos x="59" y="429"/>
              </a:cxn>
              <a:cxn ang="0">
                <a:pos x="31" y="461"/>
              </a:cxn>
              <a:cxn ang="0">
                <a:pos x="17" y="481"/>
              </a:cxn>
              <a:cxn ang="0">
                <a:pos x="2" y="542"/>
              </a:cxn>
              <a:cxn ang="0">
                <a:pos x="69" y="616"/>
              </a:cxn>
              <a:cxn ang="0">
                <a:pos x="69" y="634"/>
              </a:cxn>
              <a:cxn ang="0">
                <a:pos x="74" y="665"/>
              </a:cxn>
              <a:cxn ang="0">
                <a:pos x="74" y="696"/>
              </a:cxn>
              <a:cxn ang="0">
                <a:pos x="78" y="733"/>
              </a:cxn>
              <a:cxn ang="0">
                <a:pos x="94" y="778"/>
              </a:cxn>
              <a:cxn ang="0">
                <a:pos x="105" y="792"/>
              </a:cxn>
              <a:cxn ang="0">
                <a:pos x="68" y="794"/>
              </a:cxn>
              <a:cxn ang="0">
                <a:pos x="42" y="802"/>
              </a:cxn>
              <a:cxn ang="0">
                <a:pos x="36" y="812"/>
              </a:cxn>
              <a:cxn ang="0">
                <a:pos x="42" y="842"/>
              </a:cxn>
              <a:cxn ang="0">
                <a:pos x="69" y="876"/>
              </a:cxn>
              <a:cxn ang="0">
                <a:pos x="87" y="899"/>
              </a:cxn>
              <a:cxn ang="0">
                <a:pos x="100" y="927"/>
              </a:cxn>
              <a:cxn ang="0">
                <a:pos x="156" y="955"/>
              </a:cxn>
              <a:cxn ang="0">
                <a:pos x="189" y="942"/>
              </a:cxn>
              <a:cxn ang="0">
                <a:pos x="248" y="929"/>
              </a:cxn>
              <a:cxn ang="0">
                <a:pos x="279" y="921"/>
              </a:cxn>
              <a:cxn ang="0">
                <a:pos x="297" y="904"/>
              </a:cxn>
              <a:cxn ang="0">
                <a:pos x="302" y="892"/>
              </a:cxn>
              <a:cxn ang="0">
                <a:pos x="302" y="868"/>
              </a:cxn>
              <a:cxn ang="0">
                <a:pos x="338" y="871"/>
              </a:cxn>
              <a:cxn ang="0">
                <a:pos x="367" y="866"/>
              </a:cxn>
              <a:cxn ang="0">
                <a:pos x="389" y="856"/>
              </a:cxn>
              <a:cxn ang="0">
                <a:pos x="405" y="842"/>
              </a:cxn>
              <a:cxn ang="0">
                <a:pos x="432" y="807"/>
              </a:cxn>
              <a:cxn ang="0">
                <a:pos x="460" y="773"/>
              </a:cxn>
              <a:cxn ang="0">
                <a:pos x="477" y="760"/>
              </a:cxn>
              <a:cxn ang="0">
                <a:pos x="502" y="752"/>
              </a:cxn>
              <a:cxn ang="0">
                <a:pos x="521" y="745"/>
              </a:cxn>
              <a:cxn ang="0">
                <a:pos x="499" y="697"/>
              </a:cxn>
              <a:cxn ang="0">
                <a:pos x="484" y="653"/>
              </a:cxn>
              <a:cxn ang="0">
                <a:pos x="472" y="623"/>
              </a:cxn>
              <a:cxn ang="0">
                <a:pos x="481" y="610"/>
              </a:cxn>
              <a:cxn ang="0">
                <a:pos x="487" y="579"/>
              </a:cxn>
              <a:cxn ang="0">
                <a:pos x="494" y="541"/>
              </a:cxn>
              <a:cxn ang="0">
                <a:pos x="505" y="519"/>
              </a:cxn>
              <a:cxn ang="0">
                <a:pos x="532" y="486"/>
              </a:cxn>
              <a:cxn ang="0">
                <a:pos x="570" y="461"/>
              </a:cxn>
              <a:cxn ang="0">
                <a:pos x="129" y="0"/>
              </a:cxn>
              <a:cxn ang="0">
                <a:pos x="98" y="5"/>
              </a:cxn>
              <a:cxn ang="0">
                <a:pos x="69" y="24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0" y="18"/>
              </a:cxn>
              <a:cxn ang="0">
                <a:pos x="23" y="36"/>
              </a:cxn>
              <a:cxn ang="0">
                <a:pos x="45" y="15"/>
              </a:cxn>
              <a:cxn ang="0">
                <a:pos x="26" y="0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5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/>
            <a:ahLst/>
            <a:cxnLst>
              <a:cxn ang="0">
                <a:pos x="33" y="87"/>
              </a:cxn>
              <a:cxn ang="0">
                <a:pos x="59" y="142"/>
              </a:cxn>
              <a:cxn ang="0">
                <a:pos x="59" y="179"/>
              </a:cxn>
              <a:cxn ang="0">
                <a:pos x="102" y="196"/>
              </a:cxn>
              <a:cxn ang="0">
                <a:pos x="122" y="202"/>
              </a:cxn>
              <a:cxn ang="0">
                <a:pos x="139" y="204"/>
              </a:cxn>
              <a:cxn ang="0">
                <a:pos x="146" y="201"/>
              </a:cxn>
              <a:cxn ang="0">
                <a:pos x="151" y="194"/>
              </a:cxn>
              <a:cxn ang="0">
                <a:pos x="160" y="172"/>
              </a:cxn>
              <a:cxn ang="0">
                <a:pos x="172" y="149"/>
              </a:cxn>
              <a:cxn ang="0">
                <a:pos x="181" y="141"/>
              </a:cxn>
              <a:cxn ang="0">
                <a:pos x="192" y="136"/>
              </a:cxn>
              <a:cxn ang="0">
                <a:pos x="209" y="138"/>
              </a:cxn>
              <a:cxn ang="0">
                <a:pos x="220" y="142"/>
              </a:cxn>
              <a:cxn ang="0">
                <a:pos x="228" y="148"/>
              </a:cxn>
              <a:cxn ang="0">
                <a:pos x="231" y="154"/>
              </a:cxn>
              <a:cxn ang="0">
                <a:pos x="234" y="164"/>
              </a:cxn>
              <a:cxn ang="0">
                <a:pos x="231" y="167"/>
              </a:cxn>
              <a:cxn ang="0">
                <a:pos x="234" y="153"/>
              </a:cxn>
              <a:cxn ang="0">
                <a:pos x="238" y="140"/>
              </a:cxn>
              <a:cxn ang="0">
                <a:pos x="245" y="117"/>
              </a:cxn>
              <a:cxn ang="0">
                <a:pos x="254" y="115"/>
              </a:cxn>
              <a:cxn ang="0">
                <a:pos x="264" y="110"/>
              </a:cxn>
              <a:cxn ang="0">
                <a:pos x="279" y="99"/>
              </a:cxn>
              <a:cxn ang="0">
                <a:pos x="252" y="75"/>
              </a:cxn>
              <a:cxn ang="0">
                <a:pos x="227" y="58"/>
              </a:cxn>
              <a:cxn ang="0">
                <a:pos x="204" y="44"/>
              </a:cxn>
              <a:cxn ang="0">
                <a:pos x="185" y="31"/>
              </a:cxn>
              <a:cxn ang="0">
                <a:pos x="146" y="68"/>
              </a:cxn>
              <a:cxn ang="0">
                <a:pos x="79" y="25"/>
              </a:cxn>
              <a:cxn ang="0">
                <a:pos x="52" y="12"/>
              </a:cxn>
              <a:cxn ang="0">
                <a:pos x="46" y="62"/>
              </a:cxn>
              <a:cxn ang="0">
                <a:pos x="0" y="56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/>
            <a:ahLst/>
            <a:cxnLst>
              <a:cxn ang="0">
                <a:pos x="252" y="20"/>
              </a:cxn>
              <a:cxn ang="0">
                <a:pos x="300" y="44"/>
              </a:cxn>
              <a:cxn ang="0">
                <a:pos x="372" y="44"/>
              </a:cxn>
              <a:cxn ang="0">
                <a:pos x="425" y="131"/>
              </a:cxn>
              <a:cxn ang="0">
                <a:pos x="485" y="167"/>
              </a:cxn>
              <a:cxn ang="0">
                <a:pos x="412" y="173"/>
              </a:cxn>
              <a:cxn ang="0">
                <a:pos x="433" y="210"/>
              </a:cxn>
              <a:cxn ang="0">
                <a:pos x="392" y="241"/>
              </a:cxn>
              <a:cxn ang="0">
                <a:pos x="385" y="291"/>
              </a:cxn>
              <a:cxn ang="0">
                <a:pos x="285" y="266"/>
              </a:cxn>
              <a:cxn ang="0">
                <a:pos x="173" y="254"/>
              </a:cxn>
              <a:cxn ang="0">
                <a:pos x="60" y="266"/>
              </a:cxn>
              <a:cxn ang="0">
                <a:pos x="15" y="271"/>
              </a:cxn>
              <a:cxn ang="0">
                <a:pos x="8" y="257"/>
              </a:cxn>
              <a:cxn ang="0">
                <a:pos x="3" y="244"/>
              </a:cxn>
              <a:cxn ang="0">
                <a:pos x="0" y="229"/>
              </a:cxn>
              <a:cxn ang="0">
                <a:pos x="5" y="219"/>
              </a:cxn>
              <a:cxn ang="0">
                <a:pos x="14" y="207"/>
              </a:cxn>
              <a:cxn ang="0">
                <a:pos x="23" y="189"/>
              </a:cxn>
              <a:cxn ang="0">
                <a:pos x="31" y="166"/>
              </a:cxn>
              <a:cxn ang="0">
                <a:pos x="41" y="137"/>
              </a:cxn>
              <a:cxn ang="0">
                <a:pos x="48" y="126"/>
              </a:cxn>
              <a:cxn ang="0">
                <a:pos x="60" y="119"/>
              </a:cxn>
              <a:cxn ang="0">
                <a:pos x="87" y="111"/>
              </a:cxn>
              <a:cxn ang="0">
                <a:pos x="89" y="106"/>
              </a:cxn>
              <a:cxn ang="0">
                <a:pos x="94" y="100"/>
              </a:cxn>
              <a:cxn ang="0">
                <a:pos x="101" y="95"/>
              </a:cxn>
              <a:cxn ang="0">
                <a:pos x="106" y="93"/>
              </a:cxn>
              <a:cxn ang="0">
                <a:pos x="106" y="76"/>
              </a:cxn>
              <a:cxn ang="0">
                <a:pos x="109" y="70"/>
              </a:cxn>
              <a:cxn ang="0">
                <a:pos x="113" y="67"/>
              </a:cxn>
              <a:cxn ang="0">
                <a:pos x="122" y="69"/>
              </a:cxn>
              <a:cxn ang="0">
                <a:pos x="128" y="69"/>
              </a:cxn>
              <a:cxn ang="0">
                <a:pos x="132" y="66"/>
              </a:cxn>
              <a:cxn ang="0">
                <a:pos x="134" y="56"/>
              </a:cxn>
              <a:cxn ang="0">
                <a:pos x="139" y="44"/>
              </a:cxn>
              <a:cxn ang="0">
                <a:pos x="144" y="39"/>
              </a:cxn>
              <a:cxn ang="0">
                <a:pos x="213" y="0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/>
            <a:ahLst/>
            <a:cxnLst>
              <a:cxn ang="0">
                <a:pos x="86" y="147"/>
              </a:cxn>
              <a:cxn ang="0">
                <a:pos x="83" y="136"/>
              </a:cxn>
              <a:cxn ang="0">
                <a:pos x="78" y="127"/>
              </a:cxn>
              <a:cxn ang="0">
                <a:pos x="74" y="118"/>
              </a:cxn>
              <a:cxn ang="0">
                <a:pos x="70" y="110"/>
              </a:cxn>
              <a:cxn ang="0">
                <a:pos x="60" y="95"/>
              </a:cxn>
              <a:cxn ang="0">
                <a:pos x="49" y="82"/>
              </a:cxn>
              <a:cxn ang="0">
                <a:pos x="37" y="70"/>
              </a:cxn>
              <a:cxn ang="0">
                <a:pos x="25" y="56"/>
              </a:cxn>
              <a:cxn ang="0">
                <a:pos x="13" y="38"/>
              </a:cxn>
              <a:cxn ang="0">
                <a:pos x="0" y="18"/>
              </a:cxn>
              <a:cxn ang="0">
                <a:pos x="0" y="0"/>
              </a:cxn>
              <a:cxn ang="0">
                <a:pos x="7" y="2"/>
              </a:cxn>
              <a:cxn ang="0">
                <a:pos x="14" y="3"/>
              </a:cxn>
              <a:cxn ang="0">
                <a:pos x="20" y="4"/>
              </a:cxn>
              <a:cxn ang="0">
                <a:pos x="27" y="4"/>
              </a:cxn>
              <a:cxn ang="0">
                <a:pos x="33" y="4"/>
              </a:cxn>
              <a:cxn ang="0">
                <a:pos x="40" y="3"/>
              </a:cxn>
              <a:cxn ang="0">
                <a:pos x="47" y="2"/>
              </a:cxn>
              <a:cxn ang="0">
                <a:pos x="53" y="0"/>
              </a:cxn>
              <a:cxn ang="0">
                <a:pos x="140" y="12"/>
              </a:cxn>
              <a:cxn ang="0">
                <a:pos x="186" y="91"/>
              </a:cxn>
              <a:cxn ang="0">
                <a:pos x="171" y="112"/>
              </a:cxn>
              <a:cxn ang="0">
                <a:pos x="155" y="129"/>
              </a:cxn>
              <a:cxn ang="0">
                <a:pos x="149" y="137"/>
              </a:cxn>
              <a:cxn ang="0">
                <a:pos x="144" y="145"/>
              </a:cxn>
              <a:cxn ang="0">
                <a:pos x="142" y="150"/>
              </a:cxn>
              <a:cxn ang="0">
                <a:pos x="141" y="156"/>
              </a:cxn>
              <a:cxn ang="0">
                <a:pos x="140" y="161"/>
              </a:cxn>
              <a:cxn ang="0">
                <a:pos x="140" y="166"/>
              </a:cxn>
              <a:cxn ang="0">
                <a:pos x="86" y="147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/>
            <a:ahLst/>
            <a:cxnLst>
              <a:cxn ang="0">
                <a:pos x="153" y="21"/>
              </a:cxn>
              <a:cxn ang="0">
                <a:pos x="146" y="21"/>
              </a:cxn>
              <a:cxn ang="0">
                <a:pos x="141" y="20"/>
              </a:cxn>
              <a:cxn ang="0">
                <a:pos x="136" y="18"/>
              </a:cxn>
              <a:cxn ang="0">
                <a:pos x="133" y="15"/>
              </a:cxn>
              <a:cxn ang="0">
                <a:pos x="130" y="13"/>
              </a:cxn>
              <a:cxn ang="0">
                <a:pos x="125" y="11"/>
              </a:cxn>
              <a:cxn ang="0">
                <a:pos x="120" y="10"/>
              </a:cxn>
              <a:cxn ang="0">
                <a:pos x="113" y="9"/>
              </a:cxn>
              <a:cxn ang="0">
                <a:pos x="100" y="8"/>
              </a:cxn>
              <a:cxn ang="0">
                <a:pos x="88" y="6"/>
              </a:cxn>
              <a:cxn ang="0">
                <a:pos x="75" y="3"/>
              </a:cxn>
              <a:cxn ang="0">
                <a:pos x="64" y="1"/>
              </a:cxn>
              <a:cxn ang="0">
                <a:pos x="60" y="0"/>
              </a:cxn>
              <a:cxn ang="0">
                <a:pos x="54" y="0"/>
              </a:cxn>
              <a:cxn ang="0">
                <a:pos x="51" y="1"/>
              </a:cxn>
              <a:cxn ang="0">
                <a:pos x="46" y="2"/>
              </a:cxn>
              <a:cxn ang="0">
                <a:pos x="44" y="4"/>
              </a:cxn>
              <a:cxn ang="0">
                <a:pos x="42" y="6"/>
              </a:cxn>
              <a:cxn ang="0">
                <a:pos x="41" y="10"/>
              </a:cxn>
              <a:cxn ang="0">
                <a:pos x="40" y="15"/>
              </a:cxn>
              <a:cxn ang="0">
                <a:pos x="34" y="27"/>
              </a:cxn>
              <a:cxn ang="0">
                <a:pos x="20" y="47"/>
              </a:cxn>
              <a:cxn ang="0">
                <a:pos x="7" y="66"/>
              </a:cxn>
              <a:cxn ang="0">
                <a:pos x="0" y="77"/>
              </a:cxn>
              <a:cxn ang="0">
                <a:pos x="8" y="77"/>
              </a:cxn>
              <a:cxn ang="0">
                <a:pos x="16" y="78"/>
              </a:cxn>
              <a:cxn ang="0">
                <a:pos x="21" y="79"/>
              </a:cxn>
              <a:cxn ang="0">
                <a:pos x="25" y="81"/>
              </a:cxn>
              <a:cxn ang="0">
                <a:pos x="33" y="85"/>
              </a:cxn>
              <a:cxn ang="0">
                <a:pos x="40" y="89"/>
              </a:cxn>
              <a:cxn ang="0">
                <a:pos x="45" y="94"/>
              </a:cxn>
              <a:cxn ang="0">
                <a:pos x="52" y="98"/>
              </a:cxn>
              <a:cxn ang="0">
                <a:pos x="56" y="100"/>
              </a:cxn>
              <a:cxn ang="0">
                <a:pos x="61" y="101"/>
              </a:cxn>
              <a:cxn ang="0">
                <a:pos x="66" y="102"/>
              </a:cxn>
              <a:cxn ang="0">
                <a:pos x="74" y="102"/>
              </a:cxn>
              <a:cxn ang="0">
                <a:pos x="107" y="103"/>
              </a:cxn>
              <a:cxn ang="0">
                <a:pos x="131" y="104"/>
              </a:cxn>
              <a:cxn ang="0">
                <a:pos x="135" y="103"/>
              </a:cxn>
              <a:cxn ang="0">
                <a:pos x="139" y="102"/>
              </a:cxn>
              <a:cxn ang="0">
                <a:pos x="142" y="100"/>
              </a:cxn>
              <a:cxn ang="0">
                <a:pos x="145" y="97"/>
              </a:cxn>
              <a:cxn ang="0">
                <a:pos x="147" y="94"/>
              </a:cxn>
              <a:cxn ang="0">
                <a:pos x="150" y="88"/>
              </a:cxn>
              <a:cxn ang="0">
                <a:pos x="152" y="83"/>
              </a:cxn>
              <a:cxn ang="0">
                <a:pos x="153" y="77"/>
              </a:cxn>
              <a:cxn ang="0">
                <a:pos x="186" y="27"/>
              </a:cxn>
              <a:cxn ang="0">
                <a:pos x="153" y="21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/>
            <a:ahLst/>
            <a:cxnLst>
              <a:cxn ang="0">
                <a:pos x="79" y="38"/>
              </a:cxn>
              <a:cxn ang="0">
                <a:pos x="115" y="26"/>
              </a:cxn>
              <a:cxn ang="0">
                <a:pos x="148" y="14"/>
              </a:cxn>
              <a:cxn ang="0">
                <a:pos x="178" y="4"/>
              </a:cxn>
              <a:cxn ang="0">
                <a:pos x="211" y="0"/>
              </a:cxn>
              <a:cxn ang="0">
                <a:pos x="236" y="2"/>
              </a:cxn>
              <a:cxn ang="0">
                <a:pos x="256" y="6"/>
              </a:cxn>
              <a:cxn ang="0">
                <a:pos x="292" y="12"/>
              </a:cxn>
              <a:cxn ang="0">
                <a:pos x="287" y="28"/>
              </a:cxn>
              <a:cxn ang="0">
                <a:pos x="278" y="42"/>
              </a:cxn>
              <a:cxn ang="0">
                <a:pos x="269" y="53"/>
              </a:cxn>
              <a:cxn ang="0">
                <a:pos x="265" y="62"/>
              </a:cxn>
              <a:cxn ang="0">
                <a:pos x="266" y="66"/>
              </a:cxn>
              <a:cxn ang="0">
                <a:pos x="271" y="71"/>
              </a:cxn>
              <a:cxn ang="0">
                <a:pos x="285" y="79"/>
              </a:cxn>
              <a:cxn ang="0">
                <a:pos x="311" y="93"/>
              </a:cxn>
              <a:cxn ang="0">
                <a:pos x="287" y="107"/>
              </a:cxn>
              <a:cxn ang="0">
                <a:pos x="281" y="115"/>
              </a:cxn>
              <a:cxn ang="0">
                <a:pos x="278" y="129"/>
              </a:cxn>
              <a:cxn ang="0">
                <a:pos x="252" y="136"/>
              </a:cxn>
              <a:cxn ang="0">
                <a:pos x="211" y="148"/>
              </a:cxn>
              <a:cxn ang="0">
                <a:pos x="191" y="168"/>
              </a:cxn>
              <a:cxn ang="0">
                <a:pos x="178" y="176"/>
              </a:cxn>
              <a:cxn ang="0">
                <a:pos x="165" y="179"/>
              </a:cxn>
              <a:cxn ang="0">
                <a:pos x="151" y="175"/>
              </a:cxn>
              <a:cxn ang="0">
                <a:pos x="137" y="167"/>
              </a:cxn>
              <a:cxn ang="0">
                <a:pos x="120" y="158"/>
              </a:cxn>
              <a:cxn ang="0">
                <a:pos x="98" y="155"/>
              </a:cxn>
              <a:cxn ang="0">
                <a:pos x="66" y="155"/>
              </a:cxn>
              <a:cxn ang="0">
                <a:pos x="51" y="157"/>
              </a:cxn>
              <a:cxn ang="0">
                <a:pos x="39" y="161"/>
              </a:cxn>
              <a:cxn ang="0">
                <a:pos x="36" y="142"/>
              </a:cxn>
              <a:cxn ang="0">
                <a:pos x="32" y="123"/>
              </a:cxn>
              <a:cxn ang="0">
                <a:pos x="21" y="128"/>
              </a:cxn>
              <a:cxn ang="0">
                <a:pos x="13" y="129"/>
              </a:cxn>
              <a:cxn ang="0">
                <a:pos x="7" y="126"/>
              </a:cxn>
              <a:cxn ang="0">
                <a:pos x="3" y="121"/>
              </a:cxn>
              <a:cxn ang="0">
                <a:pos x="0" y="105"/>
              </a:cxn>
              <a:cxn ang="0">
                <a:pos x="0" y="87"/>
              </a:cxn>
              <a:cxn ang="0">
                <a:pos x="3" y="82"/>
              </a:cxn>
              <a:cxn ang="0">
                <a:pos x="13" y="78"/>
              </a:cxn>
              <a:cxn ang="0">
                <a:pos x="21" y="72"/>
              </a:cxn>
              <a:cxn ang="0">
                <a:pos x="25" y="68"/>
              </a:cxn>
              <a:cxn ang="0">
                <a:pos x="26" y="62"/>
              </a:cxn>
              <a:cxn ang="0">
                <a:pos x="24" y="51"/>
              </a:cxn>
              <a:cxn ang="0">
                <a:pos x="19" y="43"/>
              </a:cxn>
              <a:cxn ang="0">
                <a:pos x="8" y="29"/>
              </a:cxn>
              <a:cxn ang="0">
                <a:pos x="1" y="18"/>
              </a:cxn>
              <a:cxn ang="0">
                <a:pos x="1" y="13"/>
              </a:cxn>
              <a:cxn ang="0">
                <a:pos x="6" y="6"/>
              </a:cxn>
              <a:cxn ang="0">
                <a:pos x="0" y="6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/>
            <a:ahLst/>
            <a:cxnLst>
              <a:cxn ang="0">
                <a:pos x="6" y="260"/>
              </a:cxn>
              <a:cxn ang="0">
                <a:pos x="13" y="237"/>
              </a:cxn>
              <a:cxn ang="0">
                <a:pos x="17" y="202"/>
              </a:cxn>
              <a:cxn ang="0">
                <a:pos x="23" y="173"/>
              </a:cxn>
              <a:cxn ang="0">
                <a:pos x="32" y="162"/>
              </a:cxn>
              <a:cxn ang="0">
                <a:pos x="48" y="150"/>
              </a:cxn>
              <a:cxn ang="0">
                <a:pos x="72" y="141"/>
              </a:cxn>
              <a:cxn ang="0">
                <a:pos x="93" y="134"/>
              </a:cxn>
              <a:cxn ang="0">
                <a:pos x="104" y="125"/>
              </a:cxn>
              <a:cxn ang="0">
                <a:pos x="113" y="114"/>
              </a:cxn>
              <a:cxn ang="0">
                <a:pos x="123" y="93"/>
              </a:cxn>
              <a:cxn ang="0">
                <a:pos x="136" y="69"/>
              </a:cxn>
              <a:cxn ang="0">
                <a:pos x="147" y="55"/>
              </a:cxn>
              <a:cxn ang="0">
                <a:pos x="155" y="51"/>
              </a:cxn>
              <a:cxn ang="0">
                <a:pos x="170" y="51"/>
              </a:cxn>
              <a:cxn ang="0">
                <a:pos x="189" y="48"/>
              </a:cxn>
              <a:cxn ang="0">
                <a:pos x="213" y="35"/>
              </a:cxn>
              <a:cxn ang="0">
                <a:pos x="237" y="20"/>
              </a:cxn>
              <a:cxn ang="0">
                <a:pos x="257" y="11"/>
              </a:cxn>
              <a:cxn ang="0">
                <a:pos x="282" y="4"/>
              </a:cxn>
              <a:cxn ang="0">
                <a:pos x="314" y="0"/>
              </a:cxn>
              <a:cxn ang="0">
                <a:pos x="332" y="14"/>
              </a:cxn>
              <a:cxn ang="0">
                <a:pos x="337" y="34"/>
              </a:cxn>
              <a:cxn ang="0">
                <a:pos x="343" y="50"/>
              </a:cxn>
              <a:cxn ang="0">
                <a:pos x="352" y="62"/>
              </a:cxn>
              <a:cxn ang="0">
                <a:pos x="368" y="74"/>
              </a:cxn>
              <a:cxn ang="0">
                <a:pos x="382" y="85"/>
              </a:cxn>
              <a:cxn ang="0">
                <a:pos x="390" y="93"/>
              </a:cxn>
              <a:cxn ang="0">
                <a:pos x="396" y="115"/>
              </a:cxn>
              <a:cxn ang="0">
                <a:pos x="398" y="143"/>
              </a:cxn>
              <a:cxn ang="0">
                <a:pos x="398" y="170"/>
              </a:cxn>
              <a:cxn ang="0">
                <a:pos x="402" y="196"/>
              </a:cxn>
              <a:cxn ang="0">
                <a:pos x="398" y="217"/>
              </a:cxn>
              <a:cxn ang="0">
                <a:pos x="382" y="226"/>
              </a:cxn>
              <a:cxn ang="0">
                <a:pos x="365" y="241"/>
              </a:cxn>
              <a:cxn ang="0">
                <a:pos x="363" y="237"/>
              </a:cxn>
              <a:cxn ang="0">
                <a:pos x="358" y="233"/>
              </a:cxn>
              <a:cxn ang="0">
                <a:pos x="342" y="227"/>
              </a:cxn>
              <a:cxn ang="0">
                <a:pos x="319" y="223"/>
              </a:cxn>
              <a:cxn ang="0">
                <a:pos x="152" y="241"/>
              </a:cxn>
              <a:cxn ang="0">
                <a:pos x="150" y="257"/>
              </a:cxn>
              <a:cxn ang="0">
                <a:pos x="150" y="274"/>
              </a:cxn>
              <a:cxn ang="0">
                <a:pos x="152" y="314"/>
              </a:cxn>
              <a:cxn ang="0">
                <a:pos x="139" y="312"/>
              </a:cxn>
              <a:cxn ang="0">
                <a:pos x="126" y="305"/>
              </a:cxn>
              <a:cxn ang="0">
                <a:pos x="100" y="290"/>
              </a:cxn>
              <a:cxn ang="0">
                <a:pos x="89" y="307"/>
              </a:cxn>
              <a:cxn ang="0">
                <a:pos x="82" y="312"/>
              </a:cxn>
              <a:cxn ang="0">
                <a:pos x="73" y="314"/>
              </a:cxn>
              <a:cxn ang="0">
                <a:pos x="60" y="311"/>
              </a:cxn>
              <a:cxn ang="0">
                <a:pos x="47" y="302"/>
              </a:cxn>
              <a:cxn ang="0">
                <a:pos x="28" y="291"/>
              </a:cxn>
              <a:cxn ang="0">
                <a:pos x="0" y="284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/>
            <a:ahLst/>
            <a:cxnLst>
              <a:cxn ang="0">
                <a:pos x="335" y="36"/>
              </a:cxn>
              <a:cxn ang="0">
                <a:pos x="321" y="98"/>
              </a:cxn>
              <a:cxn ang="0">
                <a:pos x="277" y="162"/>
              </a:cxn>
              <a:cxn ang="0">
                <a:pos x="253" y="219"/>
              </a:cxn>
              <a:cxn ang="0">
                <a:pos x="232" y="272"/>
              </a:cxn>
              <a:cxn ang="0">
                <a:pos x="209" y="329"/>
              </a:cxn>
              <a:cxn ang="0">
                <a:pos x="196" y="362"/>
              </a:cxn>
              <a:cxn ang="0">
                <a:pos x="180" y="380"/>
              </a:cxn>
              <a:cxn ang="0">
                <a:pos x="167" y="390"/>
              </a:cxn>
              <a:cxn ang="0">
                <a:pos x="141" y="382"/>
              </a:cxn>
              <a:cxn ang="0">
                <a:pos x="121" y="370"/>
              </a:cxn>
              <a:cxn ang="0">
                <a:pos x="94" y="367"/>
              </a:cxn>
              <a:cxn ang="0">
                <a:pos x="64" y="380"/>
              </a:cxn>
              <a:cxn ang="0">
                <a:pos x="44" y="403"/>
              </a:cxn>
              <a:cxn ang="0">
                <a:pos x="21" y="454"/>
              </a:cxn>
              <a:cxn ang="0">
                <a:pos x="7" y="482"/>
              </a:cxn>
              <a:cxn ang="0">
                <a:pos x="1" y="500"/>
              </a:cxn>
              <a:cxn ang="0">
                <a:pos x="8" y="517"/>
              </a:cxn>
              <a:cxn ang="0">
                <a:pos x="20" y="526"/>
              </a:cxn>
              <a:cxn ang="0">
                <a:pos x="55" y="526"/>
              </a:cxn>
              <a:cxn ang="0">
                <a:pos x="71" y="548"/>
              </a:cxn>
              <a:cxn ang="0">
                <a:pos x="73" y="590"/>
              </a:cxn>
              <a:cxn ang="0">
                <a:pos x="67" y="630"/>
              </a:cxn>
              <a:cxn ang="0">
                <a:pos x="433" y="661"/>
              </a:cxn>
              <a:cxn ang="0">
                <a:pos x="442" y="582"/>
              </a:cxn>
              <a:cxn ang="0">
                <a:pos x="415" y="568"/>
              </a:cxn>
              <a:cxn ang="0">
                <a:pos x="373" y="557"/>
              </a:cxn>
              <a:cxn ang="0">
                <a:pos x="353" y="549"/>
              </a:cxn>
              <a:cxn ang="0">
                <a:pos x="340" y="537"/>
              </a:cxn>
              <a:cxn ang="0">
                <a:pos x="333" y="515"/>
              </a:cxn>
              <a:cxn ang="0">
                <a:pos x="333" y="464"/>
              </a:cxn>
              <a:cxn ang="0">
                <a:pos x="337" y="428"/>
              </a:cxn>
              <a:cxn ang="0">
                <a:pos x="351" y="397"/>
              </a:cxn>
              <a:cxn ang="0">
                <a:pos x="373" y="364"/>
              </a:cxn>
              <a:cxn ang="0">
                <a:pos x="392" y="330"/>
              </a:cxn>
              <a:cxn ang="0">
                <a:pos x="399" y="297"/>
              </a:cxn>
              <a:cxn ang="0">
                <a:pos x="389" y="267"/>
              </a:cxn>
              <a:cxn ang="0">
                <a:pos x="373" y="246"/>
              </a:cxn>
              <a:cxn ang="0">
                <a:pos x="343" y="217"/>
              </a:cxn>
              <a:cxn ang="0">
                <a:pos x="333" y="192"/>
              </a:cxn>
              <a:cxn ang="0">
                <a:pos x="335" y="173"/>
              </a:cxn>
              <a:cxn ang="0">
                <a:pos x="353" y="164"/>
              </a:cxn>
              <a:cxn ang="0">
                <a:pos x="406" y="162"/>
              </a:cxn>
              <a:cxn ang="0">
                <a:pos x="395" y="151"/>
              </a:cxn>
              <a:cxn ang="0">
                <a:pos x="379" y="117"/>
              </a:cxn>
              <a:cxn ang="0">
                <a:pos x="371" y="73"/>
              </a:cxn>
              <a:cxn ang="0">
                <a:pos x="373" y="45"/>
              </a:cxn>
              <a:cxn ang="0">
                <a:pos x="367" y="11"/>
              </a:cxn>
              <a:cxn ang="0">
                <a:pos x="347" y="0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4" y="49"/>
              </a:cxn>
              <a:cxn ang="0">
                <a:pos x="10" y="41"/>
              </a:cxn>
              <a:cxn ang="0">
                <a:pos x="16" y="33"/>
              </a:cxn>
              <a:cxn ang="0">
                <a:pos x="24" y="25"/>
              </a:cxn>
              <a:cxn ang="0">
                <a:pos x="37" y="11"/>
              </a:cxn>
              <a:cxn ang="0">
                <a:pos x="47" y="0"/>
              </a:cxn>
              <a:cxn ang="0">
                <a:pos x="113" y="0"/>
              </a:cxn>
              <a:cxn ang="0">
                <a:pos x="114" y="4"/>
              </a:cxn>
              <a:cxn ang="0">
                <a:pos x="115" y="8"/>
              </a:cxn>
              <a:cxn ang="0">
                <a:pos x="117" y="12"/>
              </a:cxn>
              <a:cxn ang="0">
                <a:pos x="119" y="14"/>
              </a:cxn>
              <a:cxn ang="0">
                <a:pos x="124" y="20"/>
              </a:cxn>
              <a:cxn ang="0">
                <a:pos x="126" y="24"/>
              </a:cxn>
              <a:cxn ang="0">
                <a:pos x="126" y="32"/>
              </a:cxn>
              <a:cxn ang="0">
                <a:pos x="125" y="41"/>
              </a:cxn>
              <a:cxn ang="0">
                <a:pos x="124" y="48"/>
              </a:cxn>
              <a:cxn ang="0">
                <a:pos x="122" y="55"/>
              </a:cxn>
              <a:cxn ang="0">
                <a:pos x="119" y="62"/>
              </a:cxn>
              <a:cxn ang="0">
                <a:pos x="116" y="69"/>
              </a:cxn>
              <a:cxn ang="0">
                <a:pos x="112" y="75"/>
              </a:cxn>
              <a:cxn ang="0">
                <a:pos x="108" y="81"/>
              </a:cxn>
              <a:cxn ang="0">
                <a:pos x="104" y="86"/>
              </a:cxn>
              <a:cxn ang="0">
                <a:pos x="99" y="90"/>
              </a:cxn>
              <a:cxn ang="0">
                <a:pos x="93" y="94"/>
              </a:cxn>
              <a:cxn ang="0">
                <a:pos x="88" y="99"/>
              </a:cxn>
              <a:cxn ang="0">
                <a:pos x="81" y="101"/>
              </a:cxn>
              <a:cxn ang="0">
                <a:pos x="74" y="103"/>
              </a:cxn>
              <a:cxn ang="0">
                <a:pos x="67" y="105"/>
              </a:cxn>
              <a:cxn ang="0">
                <a:pos x="60" y="105"/>
              </a:cxn>
              <a:cxn ang="0">
                <a:pos x="48" y="104"/>
              </a:cxn>
              <a:cxn ang="0">
                <a:pos x="38" y="102"/>
              </a:cxn>
              <a:cxn ang="0">
                <a:pos x="31" y="98"/>
              </a:cxn>
              <a:cxn ang="0">
                <a:pos x="24" y="92"/>
              </a:cxn>
              <a:cxn ang="0">
                <a:pos x="20" y="86"/>
              </a:cxn>
              <a:cxn ang="0">
                <a:pos x="16" y="78"/>
              </a:cxn>
              <a:cxn ang="0">
                <a:pos x="14" y="70"/>
              </a:cxn>
              <a:cxn ang="0">
                <a:pos x="13" y="62"/>
              </a:cxn>
              <a:cxn ang="0">
                <a:pos x="0" y="56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/>
            <a:ahLst/>
            <a:cxnLst>
              <a:cxn ang="0">
                <a:pos x="671" y="573"/>
              </a:cxn>
              <a:cxn ang="0">
                <a:pos x="680" y="550"/>
              </a:cxn>
              <a:cxn ang="0">
                <a:pos x="671" y="491"/>
              </a:cxn>
              <a:cxn ang="0">
                <a:pos x="659" y="423"/>
              </a:cxn>
              <a:cxn ang="0">
                <a:pos x="678" y="389"/>
              </a:cxn>
              <a:cxn ang="0">
                <a:pos x="557" y="361"/>
              </a:cxn>
              <a:cxn ang="0">
                <a:pos x="533" y="326"/>
              </a:cxn>
              <a:cxn ang="0">
                <a:pos x="462" y="310"/>
              </a:cxn>
              <a:cxn ang="0">
                <a:pos x="402" y="270"/>
              </a:cxn>
              <a:cxn ang="0">
                <a:pos x="375" y="201"/>
              </a:cxn>
              <a:cxn ang="0">
                <a:pos x="375" y="133"/>
              </a:cxn>
              <a:cxn ang="0">
                <a:pos x="395" y="84"/>
              </a:cxn>
              <a:cxn ang="0">
                <a:pos x="435" y="48"/>
              </a:cxn>
              <a:cxn ang="0">
                <a:pos x="463" y="11"/>
              </a:cxn>
              <a:cxn ang="0">
                <a:pos x="389" y="39"/>
              </a:cxn>
              <a:cxn ang="0">
                <a:pos x="335" y="68"/>
              </a:cxn>
              <a:cxn ang="0">
                <a:pos x="304" y="78"/>
              </a:cxn>
              <a:cxn ang="0">
                <a:pos x="278" y="84"/>
              </a:cxn>
              <a:cxn ang="0">
                <a:pos x="241" y="81"/>
              </a:cxn>
              <a:cxn ang="0">
                <a:pos x="217" y="108"/>
              </a:cxn>
              <a:cxn ang="0">
                <a:pos x="196" y="175"/>
              </a:cxn>
              <a:cxn ang="0">
                <a:pos x="157" y="227"/>
              </a:cxn>
              <a:cxn ang="0">
                <a:pos x="107" y="284"/>
              </a:cxn>
              <a:cxn ang="0">
                <a:pos x="90" y="317"/>
              </a:cxn>
              <a:cxn ang="0">
                <a:pos x="86" y="356"/>
              </a:cxn>
              <a:cxn ang="0">
                <a:pos x="97" y="382"/>
              </a:cxn>
              <a:cxn ang="0">
                <a:pos x="97" y="451"/>
              </a:cxn>
              <a:cxn ang="0">
                <a:pos x="95" y="525"/>
              </a:cxn>
              <a:cxn ang="0">
                <a:pos x="72" y="563"/>
              </a:cxn>
              <a:cxn ang="0">
                <a:pos x="37" y="592"/>
              </a:cxn>
              <a:cxn ang="0">
                <a:pos x="11" y="612"/>
              </a:cxn>
              <a:cxn ang="0">
                <a:pos x="30" y="668"/>
              </a:cxn>
              <a:cxn ang="0">
                <a:pos x="123" y="725"/>
              </a:cxn>
              <a:cxn ang="0">
                <a:pos x="175" y="728"/>
              </a:cxn>
              <a:cxn ang="0">
                <a:pos x="234" y="746"/>
              </a:cxn>
              <a:cxn ang="0">
                <a:pos x="299" y="795"/>
              </a:cxn>
              <a:cxn ang="0">
                <a:pos x="337" y="850"/>
              </a:cxn>
              <a:cxn ang="0">
                <a:pos x="367" y="881"/>
              </a:cxn>
              <a:cxn ang="0">
                <a:pos x="412" y="886"/>
              </a:cxn>
              <a:cxn ang="0">
                <a:pos x="462" y="876"/>
              </a:cxn>
              <a:cxn ang="0">
                <a:pos x="492" y="878"/>
              </a:cxn>
              <a:cxn ang="0">
                <a:pos x="515" y="904"/>
              </a:cxn>
              <a:cxn ang="0">
                <a:pos x="513" y="922"/>
              </a:cxn>
              <a:cxn ang="0">
                <a:pos x="488" y="937"/>
              </a:cxn>
              <a:cxn ang="0">
                <a:pos x="488" y="963"/>
              </a:cxn>
              <a:cxn ang="0">
                <a:pos x="511" y="994"/>
              </a:cxn>
              <a:cxn ang="0">
                <a:pos x="542" y="962"/>
              </a:cxn>
              <a:cxn ang="0">
                <a:pos x="566" y="861"/>
              </a:cxn>
              <a:cxn ang="0">
                <a:pos x="571" y="803"/>
              </a:cxn>
              <a:cxn ang="0">
                <a:pos x="555" y="771"/>
              </a:cxn>
              <a:cxn ang="0">
                <a:pos x="523" y="749"/>
              </a:cxn>
              <a:cxn ang="0">
                <a:pos x="521" y="723"/>
              </a:cxn>
              <a:cxn ang="0">
                <a:pos x="566" y="700"/>
              </a:cxn>
              <a:cxn ang="0">
                <a:pos x="556" y="665"/>
              </a:cxn>
              <a:cxn ang="0">
                <a:pos x="556" y="649"/>
              </a:cxn>
              <a:cxn ang="0">
                <a:pos x="655" y="628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/>
            <a:ahLst/>
            <a:cxnLst>
              <a:cxn ang="0">
                <a:pos x="429" y="22"/>
              </a:cxn>
              <a:cxn ang="0">
                <a:pos x="428" y="43"/>
              </a:cxn>
              <a:cxn ang="0">
                <a:pos x="424" y="54"/>
              </a:cxn>
              <a:cxn ang="0">
                <a:pos x="415" y="67"/>
              </a:cxn>
              <a:cxn ang="0">
                <a:pos x="413" y="81"/>
              </a:cxn>
              <a:cxn ang="0">
                <a:pos x="414" y="160"/>
              </a:cxn>
              <a:cxn ang="0">
                <a:pos x="408" y="207"/>
              </a:cxn>
              <a:cxn ang="0">
                <a:pos x="396" y="241"/>
              </a:cxn>
              <a:cxn ang="0">
                <a:pos x="372" y="278"/>
              </a:cxn>
              <a:cxn ang="0">
                <a:pos x="338" y="309"/>
              </a:cxn>
              <a:cxn ang="0">
                <a:pos x="319" y="333"/>
              </a:cxn>
              <a:cxn ang="0">
                <a:pos x="312" y="412"/>
              </a:cxn>
              <a:cxn ang="0">
                <a:pos x="304" y="439"/>
              </a:cxn>
              <a:cxn ang="0">
                <a:pos x="290" y="448"/>
              </a:cxn>
              <a:cxn ang="0">
                <a:pos x="269" y="455"/>
              </a:cxn>
              <a:cxn ang="0">
                <a:pos x="253" y="472"/>
              </a:cxn>
              <a:cxn ang="0">
                <a:pos x="234" y="500"/>
              </a:cxn>
              <a:cxn ang="0">
                <a:pos x="223" y="505"/>
              </a:cxn>
              <a:cxn ang="0">
                <a:pos x="201" y="504"/>
              </a:cxn>
              <a:cxn ang="0">
                <a:pos x="189" y="498"/>
              </a:cxn>
              <a:cxn ang="0">
                <a:pos x="145" y="500"/>
              </a:cxn>
              <a:cxn ang="0">
                <a:pos x="123" y="500"/>
              </a:cxn>
              <a:cxn ang="0">
                <a:pos x="113" y="494"/>
              </a:cxn>
              <a:cxn ang="0">
                <a:pos x="95" y="493"/>
              </a:cxn>
              <a:cxn ang="0">
                <a:pos x="78" y="502"/>
              </a:cxn>
              <a:cxn ang="0">
                <a:pos x="62" y="519"/>
              </a:cxn>
              <a:cxn ang="0">
                <a:pos x="27" y="491"/>
              </a:cxn>
              <a:cxn ang="0">
                <a:pos x="6" y="447"/>
              </a:cxn>
              <a:cxn ang="0">
                <a:pos x="25" y="430"/>
              </a:cxn>
              <a:cxn ang="0">
                <a:pos x="42" y="424"/>
              </a:cxn>
              <a:cxn ang="0">
                <a:pos x="61" y="428"/>
              </a:cxn>
              <a:cxn ang="0">
                <a:pos x="58" y="418"/>
              </a:cxn>
              <a:cxn ang="0">
                <a:pos x="45" y="386"/>
              </a:cxn>
              <a:cxn ang="0">
                <a:pos x="47" y="366"/>
              </a:cxn>
              <a:cxn ang="0">
                <a:pos x="57" y="356"/>
              </a:cxn>
              <a:cxn ang="0">
                <a:pos x="71" y="352"/>
              </a:cxn>
              <a:cxn ang="0">
                <a:pos x="89" y="337"/>
              </a:cxn>
              <a:cxn ang="0">
                <a:pos x="104" y="333"/>
              </a:cxn>
              <a:cxn ang="0">
                <a:pos x="115" y="342"/>
              </a:cxn>
              <a:cxn ang="0">
                <a:pos x="135" y="359"/>
              </a:cxn>
              <a:cxn ang="0">
                <a:pos x="154" y="351"/>
              </a:cxn>
              <a:cxn ang="0">
                <a:pos x="181" y="353"/>
              </a:cxn>
              <a:cxn ang="0">
                <a:pos x="199" y="340"/>
              </a:cxn>
              <a:cxn ang="0">
                <a:pos x="210" y="315"/>
              </a:cxn>
              <a:cxn ang="0">
                <a:pos x="213" y="290"/>
              </a:cxn>
              <a:cxn ang="0">
                <a:pos x="215" y="269"/>
              </a:cxn>
              <a:cxn ang="0">
                <a:pos x="201" y="236"/>
              </a:cxn>
              <a:cxn ang="0">
                <a:pos x="188" y="203"/>
              </a:cxn>
              <a:cxn ang="0">
                <a:pos x="207" y="177"/>
              </a:cxn>
              <a:cxn ang="0">
                <a:pos x="210" y="164"/>
              </a:cxn>
              <a:cxn ang="0">
                <a:pos x="200" y="155"/>
              </a:cxn>
              <a:cxn ang="0">
                <a:pos x="197" y="137"/>
              </a:cxn>
              <a:cxn ang="0">
                <a:pos x="188" y="129"/>
              </a:cxn>
              <a:cxn ang="0">
                <a:pos x="161" y="132"/>
              </a:cxn>
              <a:cxn ang="0">
                <a:pos x="137" y="131"/>
              </a:cxn>
              <a:cxn ang="0">
                <a:pos x="125" y="119"/>
              </a:cxn>
              <a:cxn ang="0">
                <a:pos x="123" y="103"/>
              </a:cxn>
              <a:cxn ang="0">
                <a:pos x="132" y="76"/>
              </a:cxn>
              <a:cxn ang="0">
                <a:pos x="306" y="38"/>
              </a:cxn>
              <a:cxn ang="0">
                <a:pos x="323" y="17"/>
              </a:cxn>
              <a:cxn ang="0">
                <a:pos x="343" y="7"/>
              </a:cxn>
              <a:cxn ang="0">
                <a:pos x="374" y="5"/>
              </a:cxn>
              <a:cxn ang="0">
                <a:pos x="408" y="4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/>
            <a:ahLst/>
            <a:cxnLst>
              <a:cxn ang="0">
                <a:pos x="259" y="93"/>
              </a:cxn>
              <a:cxn ang="0">
                <a:pos x="166" y="77"/>
              </a:cxn>
              <a:cxn ang="0">
                <a:pos x="152" y="79"/>
              </a:cxn>
              <a:cxn ang="0">
                <a:pos x="139" y="79"/>
              </a:cxn>
              <a:cxn ang="0">
                <a:pos x="126" y="77"/>
              </a:cxn>
              <a:cxn ang="0">
                <a:pos x="119" y="93"/>
              </a:cxn>
              <a:cxn ang="0">
                <a:pos x="144" y="131"/>
              </a:cxn>
              <a:cxn ang="0">
                <a:pos x="168" y="157"/>
              </a:cxn>
              <a:cxn ang="0">
                <a:pos x="189" y="185"/>
              </a:cxn>
              <a:cxn ang="0">
                <a:pos x="197" y="202"/>
              </a:cxn>
              <a:cxn ang="0">
                <a:pos x="205" y="222"/>
              </a:cxn>
              <a:cxn ang="0">
                <a:pos x="175" y="223"/>
              </a:cxn>
              <a:cxn ang="0">
                <a:pos x="161" y="222"/>
              </a:cxn>
              <a:cxn ang="0">
                <a:pos x="146" y="216"/>
              </a:cxn>
              <a:cxn ang="0">
                <a:pos x="134" y="209"/>
              </a:cxn>
              <a:cxn ang="0">
                <a:pos x="127" y="198"/>
              </a:cxn>
              <a:cxn ang="0">
                <a:pos x="121" y="187"/>
              </a:cxn>
              <a:cxn ang="0">
                <a:pos x="113" y="180"/>
              </a:cxn>
              <a:cxn ang="0">
                <a:pos x="91" y="145"/>
              </a:cxn>
              <a:cxn ang="0">
                <a:pos x="68" y="113"/>
              </a:cxn>
              <a:cxn ang="0">
                <a:pos x="55" y="99"/>
              </a:cxn>
              <a:cxn ang="0">
                <a:pos x="42" y="87"/>
              </a:cxn>
              <a:cxn ang="0">
                <a:pos x="27" y="79"/>
              </a:cxn>
              <a:cxn ang="0">
                <a:pos x="13" y="75"/>
              </a:cxn>
              <a:cxn ang="0">
                <a:pos x="4" y="65"/>
              </a:cxn>
              <a:cxn ang="0">
                <a:pos x="1" y="58"/>
              </a:cxn>
              <a:cxn ang="0">
                <a:pos x="0" y="49"/>
              </a:cxn>
              <a:cxn ang="0">
                <a:pos x="40" y="55"/>
              </a:cxn>
              <a:cxn ang="0">
                <a:pos x="70" y="55"/>
              </a:cxn>
              <a:cxn ang="0">
                <a:pos x="91" y="50"/>
              </a:cxn>
              <a:cxn ang="0">
                <a:pos x="106" y="41"/>
              </a:cxn>
              <a:cxn ang="0">
                <a:pos x="127" y="20"/>
              </a:cxn>
              <a:cxn ang="0">
                <a:pos x="138" y="9"/>
              </a:cxn>
              <a:cxn ang="0">
                <a:pos x="152" y="0"/>
              </a:cxn>
              <a:cxn ang="0">
                <a:pos x="172" y="14"/>
              </a:cxn>
              <a:cxn ang="0">
                <a:pos x="194" y="26"/>
              </a:cxn>
              <a:cxn ang="0">
                <a:pos x="218" y="34"/>
              </a:cxn>
              <a:cxn ang="0">
                <a:pos x="246" y="37"/>
              </a:cxn>
              <a:cxn ang="0">
                <a:pos x="262" y="34"/>
              </a:cxn>
              <a:cxn ang="0">
                <a:pos x="279" y="31"/>
              </a:cxn>
              <a:cxn ang="0">
                <a:pos x="285" y="47"/>
              </a:cxn>
              <a:cxn ang="0">
                <a:pos x="287" y="49"/>
              </a:cxn>
              <a:cxn ang="0">
                <a:pos x="292" y="69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/>
            <a:ahLst/>
            <a:cxnLst>
              <a:cxn ang="0">
                <a:pos x="375" y="94"/>
              </a:cxn>
              <a:cxn ang="0">
                <a:pos x="360" y="101"/>
              </a:cxn>
              <a:cxn ang="0">
                <a:pos x="354" y="108"/>
              </a:cxn>
              <a:cxn ang="0">
                <a:pos x="347" y="117"/>
              </a:cxn>
              <a:cxn ang="0">
                <a:pos x="333" y="127"/>
              </a:cxn>
              <a:cxn ang="0">
                <a:pos x="320" y="131"/>
              </a:cxn>
              <a:cxn ang="0">
                <a:pos x="311" y="132"/>
              </a:cxn>
              <a:cxn ang="0">
                <a:pos x="301" y="130"/>
              </a:cxn>
              <a:cxn ang="0">
                <a:pos x="291" y="126"/>
              </a:cxn>
              <a:cxn ang="0">
                <a:pos x="281" y="119"/>
              </a:cxn>
              <a:cxn ang="0">
                <a:pos x="275" y="116"/>
              </a:cxn>
              <a:cxn ang="0">
                <a:pos x="269" y="118"/>
              </a:cxn>
              <a:cxn ang="0">
                <a:pos x="267" y="123"/>
              </a:cxn>
              <a:cxn ang="0">
                <a:pos x="266" y="140"/>
              </a:cxn>
              <a:cxn ang="0">
                <a:pos x="257" y="145"/>
              </a:cxn>
              <a:cxn ang="0">
                <a:pos x="244" y="140"/>
              </a:cxn>
              <a:cxn ang="0">
                <a:pos x="229" y="131"/>
              </a:cxn>
              <a:cxn ang="0">
                <a:pos x="113" y="141"/>
              </a:cxn>
              <a:cxn ang="0">
                <a:pos x="80" y="124"/>
              </a:cxn>
              <a:cxn ang="0">
                <a:pos x="58" y="109"/>
              </a:cxn>
              <a:cxn ang="0">
                <a:pos x="45" y="94"/>
              </a:cxn>
              <a:cxn ang="0">
                <a:pos x="37" y="82"/>
              </a:cxn>
              <a:cxn ang="0">
                <a:pos x="26" y="59"/>
              </a:cxn>
              <a:cxn ang="0">
                <a:pos x="16" y="48"/>
              </a:cxn>
              <a:cxn ang="0">
                <a:pos x="0" y="36"/>
              </a:cxn>
              <a:cxn ang="0">
                <a:pos x="29" y="40"/>
              </a:cxn>
              <a:cxn ang="0">
                <a:pos x="52" y="38"/>
              </a:cxn>
              <a:cxn ang="0">
                <a:pos x="72" y="33"/>
              </a:cxn>
              <a:cxn ang="0">
                <a:pos x="87" y="25"/>
              </a:cxn>
              <a:cxn ang="0">
                <a:pos x="119" y="8"/>
              </a:cxn>
              <a:cxn ang="0">
                <a:pos x="138" y="2"/>
              </a:cxn>
              <a:cxn ang="0">
                <a:pos x="159" y="0"/>
              </a:cxn>
              <a:cxn ang="0">
                <a:pos x="200" y="23"/>
              </a:cxn>
              <a:cxn ang="0">
                <a:pos x="244" y="45"/>
              </a:cxn>
              <a:cxn ang="0">
                <a:pos x="292" y="67"/>
              </a:cxn>
              <a:cxn ang="0">
                <a:pos x="333" y="80"/>
              </a:cxn>
              <a:cxn ang="0">
                <a:pos x="354" y="86"/>
              </a:cxn>
              <a:cxn ang="0">
                <a:pos x="379" y="92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"/>
              </a:cxn>
              <a:cxn ang="0">
                <a:pos x="0" y="18"/>
              </a:cxn>
              <a:cxn ang="0">
                <a:pos x="1" y="24"/>
              </a:cxn>
              <a:cxn ang="0">
                <a:pos x="2" y="30"/>
              </a:cxn>
              <a:cxn ang="0">
                <a:pos x="3" y="36"/>
              </a:cxn>
              <a:cxn ang="0">
                <a:pos x="6" y="42"/>
              </a:cxn>
              <a:cxn ang="0">
                <a:pos x="12" y="55"/>
              </a:cxn>
              <a:cxn ang="0">
                <a:pos x="21" y="67"/>
              </a:cxn>
              <a:cxn ang="0">
                <a:pos x="28" y="65"/>
              </a:cxn>
              <a:cxn ang="0">
                <a:pos x="35" y="61"/>
              </a:cxn>
              <a:cxn ang="0">
                <a:pos x="42" y="58"/>
              </a:cxn>
              <a:cxn ang="0">
                <a:pos x="48" y="53"/>
              </a:cxn>
              <a:cxn ang="0">
                <a:pos x="53" y="47"/>
              </a:cxn>
              <a:cxn ang="0">
                <a:pos x="57" y="40"/>
              </a:cxn>
              <a:cxn ang="0">
                <a:pos x="59" y="32"/>
              </a:cxn>
              <a:cxn ang="0">
                <a:pos x="61" y="24"/>
              </a:cxn>
              <a:cxn ang="0">
                <a:pos x="53" y="14"/>
              </a:cxn>
              <a:cxn ang="0">
                <a:pos x="41" y="0"/>
              </a:cxn>
              <a:cxn ang="0">
                <a:pos x="28" y="3"/>
              </a:cxn>
              <a:cxn ang="0">
                <a:pos x="18" y="4"/>
              </a:cxn>
              <a:cxn ang="0">
                <a:pos x="13" y="4"/>
              </a:cxn>
              <a:cxn ang="0">
                <a:pos x="10" y="3"/>
              </a:cxn>
              <a:cxn ang="0">
                <a:pos x="6" y="2"/>
              </a:cxn>
              <a:cxn ang="0">
                <a:pos x="0" y="0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24"/>
              </a:cxn>
              <a:cxn ang="0">
                <a:pos x="5" y="32"/>
              </a:cxn>
              <a:cxn ang="0">
                <a:pos x="10" y="40"/>
              </a:cxn>
              <a:cxn ang="0">
                <a:pos x="16" y="45"/>
              </a:cxn>
              <a:cxn ang="0">
                <a:pos x="21" y="49"/>
              </a:cxn>
              <a:cxn ang="0">
                <a:pos x="27" y="52"/>
              </a:cxn>
              <a:cxn ang="0">
                <a:pos x="33" y="54"/>
              </a:cxn>
              <a:cxn ang="0">
                <a:pos x="40" y="55"/>
              </a:cxn>
              <a:cxn ang="0">
                <a:pos x="46" y="55"/>
              </a:cxn>
              <a:cxn ang="0">
                <a:pos x="53" y="52"/>
              </a:cxn>
              <a:cxn ang="0">
                <a:pos x="60" y="49"/>
              </a:cxn>
              <a:cxn ang="0">
                <a:pos x="50" y="34"/>
              </a:cxn>
              <a:cxn ang="0">
                <a:pos x="42" y="22"/>
              </a:cxn>
              <a:cxn ang="0">
                <a:pos x="39" y="17"/>
              </a:cxn>
              <a:cxn ang="0">
                <a:pos x="35" y="12"/>
              </a:cxn>
              <a:cxn ang="0">
                <a:pos x="34" y="6"/>
              </a:cxn>
              <a:cxn ang="0">
                <a:pos x="33" y="0"/>
              </a:cxn>
              <a:cxn ang="0">
                <a:pos x="23" y="1"/>
              </a:cxn>
              <a:cxn ang="0">
                <a:pos x="15" y="3"/>
              </a:cxn>
              <a:cxn ang="0">
                <a:pos x="7" y="5"/>
              </a:cxn>
              <a:cxn ang="0">
                <a:pos x="0" y="6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/>
            <a:ahLst/>
            <a:cxnLst>
              <a:cxn ang="0">
                <a:pos x="74" y="129"/>
              </a:cxn>
              <a:cxn ang="0">
                <a:pos x="70" y="131"/>
              </a:cxn>
              <a:cxn ang="0">
                <a:pos x="67" y="132"/>
              </a:cxn>
              <a:cxn ang="0">
                <a:pos x="64" y="133"/>
              </a:cxn>
              <a:cxn ang="0">
                <a:pos x="60" y="133"/>
              </a:cxn>
              <a:cxn ang="0">
                <a:pos x="56" y="133"/>
              </a:cxn>
              <a:cxn ang="0">
                <a:pos x="53" y="132"/>
              </a:cxn>
              <a:cxn ang="0">
                <a:pos x="50" y="131"/>
              </a:cxn>
              <a:cxn ang="0">
                <a:pos x="47" y="129"/>
              </a:cxn>
              <a:cxn ang="0">
                <a:pos x="41" y="128"/>
              </a:cxn>
              <a:cxn ang="0">
                <a:pos x="34" y="125"/>
              </a:cxn>
              <a:cxn ang="0">
                <a:pos x="26" y="120"/>
              </a:cxn>
              <a:cxn ang="0">
                <a:pos x="19" y="115"/>
              </a:cxn>
              <a:cxn ang="0">
                <a:pos x="11" y="108"/>
              </a:cxn>
              <a:cxn ang="0">
                <a:pos x="6" y="101"/>
              </a:cxn>
              <a:cxn ang="0">
                <a:pos x="3" y="97"/>
              </a:cxn>
              <a:cxn ang="0">
                <a:pos x="2" y="94"/>
              </a:cxn>
              <a:cxn ang="0">
                <a:pos x="1" y="90"/>
              </a:cxn>
              <a:cxn ang="0">
                <a:pos x="0" y="87"/>
              </a:cxn>
              <a:cxn ang="0">
                <a:pos x="2" y="73"/>
              </a:cxn>
              <a:cxn ang="0">
                <a:pos x="8" y="55"/>
              </a:cxn>
              <a:cxn ang="0">
                <a:pos x="14" y="35"/>
              </a:cxn>
              <a:cxn ang="0">
                <a:pos x="20" y="18"/>
              </a:cxn>
              <a:cxn ang="0">
                <a:pos x="32" y="17"/>
              </a:cxn>
              <a:cxn ang="0">
                <a:pos x="42" y="16"/>
              </a:cxn>
              <a:cxn ang="0">
                <a:pos x="51" y="14"/>
              </a:cxn>
              <a:cxn ang="0">
                <a:pos x="58" y="11"/>
              </a:cxn>
              <a:cxn ang="0">
                <a:pos x="70" y="5"/>
              </a:cxn>
              <a:cxn ang="0">
                <a:pos x="80" y="0"/>
              </a:cxn>
              <a:cxn ang="0">
                <a:pos x="85" y="2"/>
              </a:cxn>
              <a:cxn ang="0">
                <a:pos x="93" y="7"/>
              </a:cxn>
              <a:cxn ang="0">
                <a:pos x="98" y="10"/>
              </a:cxn>
              <a:cxn ang="0">
                <a:pos x="102" y="13"/>
              </a:cxn>
              <a:cxn ang="0">
                <a:pos x="106" y="16"/>
              </a:cxn>
              <a:cxn ang="0">
                <a:pos x="107" y="18"/>
              </a:cxn>
              <a:cxn ang="0">
                <a:pos x="100" y="28"/>
              </a:cxn>
              <a:cxn ang="0">
                <a:pos x="93" y="37"/>
              </a:cxn>
              <a:cxn ang="0">
                <a:pos x="95" y="42"/>
              </a:cxn>
              <a:cxn ang="0">
                <a:pos x="98" y="49"/>
              </a:cxn>
              <a:cxn ang="0">
                <a:pos x="102" y="56"/>
              </a:cxn>
              <a:cxn ang="0">
                <a:pos x="107" y="63"/>
              </a:cxn>
              <a:cxn ang="0">
                <a:pos x="115" y="75"/>
              </a:cxn>
              <a:cxn ang="0">
                <a:pos x="120" y="79"/>
              </a:cxn>
              <a:cxn ang="0">
                <a:pos x="113" y="81"/>
              </a:cxn>
              <a:cxn ang="0">
                <a:pos x="107" y="84"/>
              </a:cxn>
              <a:cxn ang="0">
                <a:pos x="100" y="87"/>
              </a:cxn>
              <a:cxn ang="0">
                <a:pos x="96" y="91"/>
              </a:cxn>
              <a:cxn ang="0">
                <a:pos x="90" y="95"/>
              </a:cxn>
              <a:cxn ang="0">
                <a:pos x="87" y="99"/>
              </a:cxn>
              <a:cxn ang="0">
                <a:pos x="82" y="104"/>
              </a:cxn>
              <a:cxn ang="0">
                <a:pos x="80" y="109"/>
              </a:cxn>
              <a:cxn ang="0">
                <a:pos x="78" y="114"/>
              </a:cxn>
              <a:cxn ang="0">
                <a:pos x="77" y="120"/>
              </a:cxn>
              <a:cxn ang="0">
                <a:pos x="76" y="125"/>
              </a:cxn>
              <a:cxn ang="0">
                <a:pos x="75" y="130"/>
              </a:cxn>
              <a:cxn ang="0">
                <a:pos x="76" y="135"/>
              </a:cxn>
              <a:cxn ang="0">
                <a:pos x="77" y="140"/>
              </a:cxn>
              <a:cxn ang="0">
                <a:pos x="78" y="144"/>
              </a:cxn>
              <a:cxn ang="0">
                <a:pos x="80" y="148"/>
              </a:cxn>
              <a:cxn ang="0">
                <a:pos x="74" y="12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/>
            <a:ahLst/>
            <a:cxnLst>
              <a:cxn ang="0">
                <a:pos x="21" y="2"/>
              </a:cxn>
              <a:cxn ang="0">
                <a:pos x="32" y="4"/>
              </a:cxn>
              <a:cxn ang="0">
                <a:pos x="54" y="8"/>
              </a:cxn>
              <a:cxn ang="0">
                <a:pos x="78" y="11"/>
              </a:cxn>
              <a:cxn ang="0">
                <a:pos x="104" y="19"/>
              </a:cxn>
              <a:cxn ang="0">
                <a:pos x="130" y="32"/>
              </a:cxn>
              <a:cxn ang="0">
                <a:pos x="146" y="40"/>
              </a:cxn>
              <a:cxn ang="0">
                <a:pos x="159" y="43"/>
              </a:cxn>
              <a:cxn ang="0">
                <a:pos x="189" y="43"/>
              </a:cxn>
              <a:cxn ang="0">
                <a:pos x="227" y="37"/>
              </a:cxn>
              <a:cxn ang="0">
                <a:pos x="277" y="23"/>
              </a:cxn>
              <a:cxn ang="0">
                <a:pos x="399" y="38"/>
              </a:cxn>
              <a:cxn ang="0">
                <a:pos x="403" y="69"/>
              </a:cxn>
              <a:cxn ang="0">
                <a:pos x="410" y="95"/>
              </a:cxn>
              <a:cxn ang="0">
                <a:pos x="417" y="119"/>
              </a:cxn>
              <a:cxn ang="0">
                <a:pos x="427" y="140"/>
              </a:cxn>
              <a:cxn ang="0">
                <a:pos x="450" y="175"/>
              </a:cxn>
              <a:cxn ang="0">
                <a:pos x="472" y="204"/>
              </a:cxn>
              <a:cxn ang="0">
                <a:pos x="482" y="222"/>
              </a:cxn>
              <a:cxn ang="0">
                <a:pos x="485" y="240"/>
              </a:cxn>
              <a:cxn ang="0">
                <a:pos x="491" y="255"/>
              </a:cxn>
              <a:cxn ang="0">
                <a:pos x="496" y="261"/>
              </a:cxn>
              <a:cxn ang="0">
                <a:pos x="505" y="266"/>
              </a:cxn>
              <a:cxn ang="0">
                <a:pos x="513" y="270"/>
              </a:cxn>
              <a:cxn ang="0">
                <a:pos x="519" y="278"/>
              </a:cxn>
              <a:cxn ang="0">
                <a:pos x="533" y="303"/>
              </a:cxn>
              <a:cxn ang="0">
                <a:pos x="541" y="331"/>
              </a:cxn>
              <a:cxn ang="0">
                <a:pos x="545" y="358"/>
              </a:cxn>
              <a:cxn ang="0">
                <a:pos x="548" y="368"/>
              </a:cxn>
              <a:cxn ang="0">
                <a:pos x="557" y="381"/>
              </a:cxn>
              <a:cxn ang="0">
                <a:pos x="583" y="415"/>
              </a:cxn>
              <a:cxn ang="0">
                <a:pos x="612" y="447"/>
              </a:cxn>
              <a:cxn ang="0">
                <a:pos x="631" y="463"/>
              </a:cxn>
              <a:cxn ang="0">
                <a:pos x="612" y="481"/>
              </a:cxn>
              <a:cxn ang="0">
                <a:pos x="624" y="496"/>
              </a:cxn>
              <a:cxn ang="0">
                <a:pos x="626" y="507"/>
              </a:cxn>
              <a:cxn ang="0">
                <a:pos x="626" y="516"/>
              </a:cxn>
              <a:cxn ang="0">
                <a:pos x="631" y="531"/>
              </a:cxn>
              <a:cxn ang="0">
                <a:pos x="626" y="539"/>
              </a:cxn>
              <a:cxn ang="0">
                <a:pos x="617" y="548"/>
              </a:cxn>
              <a:cxn ang="0">
                <a:pos x="592" y="569"/>
              </a:cxn>
              <a:cxn ang="0">
                <a:pos x="558" y="592"/>
              </a:cxn>
              <a:cxn ang="0">
                <a:pos x="46" y="174"/>
              </a:cxn>
              <a:cxn ang="0">
                <a:pos x="25" y="157"/>
              </a:cxn>
              <a:cxn ang="0">
                <a:pos x="11" y="138"/>
              </a:cxn>
              <a:cxn ang="0">
                <a:pos x="2" y="117"/>
              </a:cxn>
              <a:cxn ang="0">
                <a:pos x="0" y="93"/>
              </a:cxn>
              <a:cxn ang="0">
                <a:pos x="3" y="89"/>
              </a:cxn>
              <a:cxn ang="0">
                <a:pos x="10" y="83"/>
              </a:cxn>
              <a:cxn ang="0">
                <a:pos x="17" y="77"/>
              </a:cxn>
              <a:cxn ang="0">
                <a:pos x="20" y="69"/>
              </a:cxn>
              <a:cxn ang="0">
                <a:pos x="18" y="53"/>
              </a:cxn>
              <a:cxn ang="0">
                <a:pos x="13" y="42"/>
              </a:cxn>
              <a:cxn ang="0">
                <a:pos x="9" y="34"/>
              </a:cxn>
              <a:cxn ang="0">
                <a:pos x="7" y="26"/>
              </a:cxn>
              <a:cxn ang="0">
                <a:pos x="13" y="0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/>
            <a:ahLst/>
            <a:cxnLst>
              <a:cxn ang="0">
                <a:pos x="7" y="31"/>
              </a:cxn>
              <a:cxn ang="0">
                <a:pos x="10" y="30"/>
              </a:cxn>
              <a:cxn ang="0">
                <a:pos x="14" y="26"/>
              </a:cxn>
              <a:cxn ang="0">
                <a:pos x="20" y="20"/>
              </a:cxn>
              <a:cxn ang="0">
                <a:pos x="25" y="15"/>
              </a:cxn>
              <a:cxn ang="0">
                <a:pos x="35" y="4"/>
              </a:cxn>
              <a:cxn ang="0">
                <a:pos x="40" y="0"/>
              </a:cxn>
              <a:cxn ang="0">
                <a:pos x="37" y="26"/>
              </a:cxn>
              <a:cxn ang="0">
                <a:pos x="35" y="53"/>
              </a:cxn>
              <a:cxn ang="0">
                <a:pos x="34" y="65"/>
              </a:cxn>
              <a:cxn ang="0">
                <a:pos x="34" y="77"/>
              </a:cxn>
              <a:cxn ang="0">
                <a:pos x="35" y="82"/>
              </a:cxn>
              <a:cxn ang="0">
                <a:pos x="36" y="86"/>
              </a:cxn>
              <a:cxn ang="0">
                <a:pos x="37" y="90"/>
              </a:cxn>
              <a:cxn ang="0">
                <a:pos x="40" y="93"/>
              </a:cxn>
              <a:cxn ang="0">
                <a:pos x="26" y="93"/>
              </a:cxn>
              <a:cxn ang="0">
                <a:pos x="13" y="93"/>
              </a:cxn>
              <a:cxn ang="0">
                <a:pos x="11" y="92"/>
              </a:cxn>
              <a:cxn ang="0">
                <a:pos x="8" y="91"/>
              </a:cxn>
              <a:cxn ang="0">
                <a:pos x="6" y="88"/>
              </a:cxn>
              <a:cxn ang="0">
                <a:pos x="4" y="86"/>
              </a:cxn>
              <a:cxn ang="0">
                <a:pos x="1" y="80"/>
              </a:cxn>
              <a:cxn ang="0">
                <a:pos x="0" y="73"/>
              </a:cxn>
              <a:cxn ang="0">
                <a:pos x="1" y="64"/>
              </a:cxn>
              <a:cxn ang="0">
                <a:pos x="3" y="50"/>
              </a:cxn>
              <a:cxn ang="0">
                <a:pos x="6" y="37"/>
              </a:cxn>
              <a:cxn ang="0">
                <a:pos x="7" y="31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/>
            <a:ahLst/>
            <a:cxnLst>
              <a:cxn ang="0">
                <a:pos x="149" y="445"/>
              </a:cxn>
              <a:cxn ang="0">
                <a:pos x="151" y="431"/>
              </a:cxn>
              <a:cxn ang="0">
                <a:pos x="146" y="400"/>
              </a:cxn>
              <a:cxn ang="0">
                <a:pos x="151" y="353"/>
              </a:cxn>
              <a:cxn ang="0">
                <a:pos x="146" y="298"/>
              </a:cxn>
              <a:cxn ang="0">
                <a:pos x="134" y="251"/>
              </a:cxn>
              <a:cxn ang="0">
                <a:pos x="109" y="241"/>
              </a:cxn>
              <a:cxn ang="0">
                <a:pos x="20" y="192"/>
              </a:cxn>
              <a:cxn ang="0">
                <a:pos x="24" y="171"/>
              </a:cxn>
              <a:cxn ang="0">
                <a:pos x="36" y="159"/>
              </a:cxn>
              <a:cxn ang="0">
                <a:pos x="48" y="148"/>
              </a:cxn>
              <a:cxn ang="0">
                <a:pos x="100" y="155"/>
              </a:cxn>
              <a:cxn ang="0">
                <a:pos x="125" y="152"/>
              </a:cxn>
              <a:cxn ang="0">
                <a:pos x="147" y="157"/>
              </a:cxn>
              <a:cxn ang="0">
                <a:pos x="165" y="94"/>
              </a:cxn>
              <a:cxn ang="0">
                <a:pos x="185" y="109"/>
              </a:cxn>
              <a:cxn ang="0">
                <a:pos x="207" y="110"/>
              </a:cxn>
              <a:cxn ang="0">
                <a:pos x="236" y="99"/>
              </a:cxn>
              <a:cxn ang="0">
                <a:pos x="264" y="80"/>
              </a:cxn>
              <a:cxn ang="0">
                <a:pos x="289" y="57"/>
              </a:cxn>
              <a:cxn ang="0">
                <a:pos x="308" y="32"/>
              </a:cxn>
              <a:cxn ang="0">
                <a:pos x="318" y="12"/>
              </a:cxn>
              <a:cxn ang="0">
                <a:pos x="370" y="4"/>
              </a:cxn>
              <a:cxn ang="0">
                <a:pos x="404" y="32"/>
              </a:cxn>
              <a:cxn ang="0">
                <a:pos x="457" y="61"/>
              </a:cxn>
              <a:cxn ang="0">
                <a:pos x="511" y="90"/>
              </a:cxn>
              <a:cxn ang="0">
                <a:pos x="552" y="107"/>
              </a:cxn>
              <a:cxn ang="0">
                <a:pos x="578" y="116"/>
              </a:cxn>
              <a:cxn ang="0">
                <a:pos x="623" y="121"/>
              </a:cxn>
              <a:cxn ang="0">
                <a:pos x="658" y="136"/>
              </a:cxn>
              <a:cxn ang="0">
                <a:pos x="645" y="166"/>
              </a:cxn>
              <a:cxn ang="0">
                <a:pos x="620" y="236"/>
              </a:cxn>
              <a:cxn ang="0">
                <a:pos x="598" y="272"/>
              </a:cxn>
              <a:cxn ang="0">
                <a:pos x="585" y="286"/>
              </a:cxn>
              <a:cxn ang="0">
                <a:pos x="599" y="298"/>
              </a:cxn>
              <a:cxn ang="0">
                <a:pos x="618" y="307"/>
              </a:cxn>
              <a:cxn ang="0">
                <a:pos x="623" y="334"/>
              </a:cxn>
              <a:cxn ang="0">
                <a:pos x="620" y="347"/>
              </a:cxn>
              <a:cxn ang="0">
                <a:pos x="618" y="372"/>
              </a:cxn>
              <a:cxn ang="0">
                <a:pos x="622" y="399"/>
              </a:cxn>
              <a:cxn ang="0">
                <a:pos x="632" y="423"/>
              </a:cxn>
              <a:cxn ang="0">
                <a:pos x="608" y="457"/>
              </a:cxn>
              <a:cxn ang="0">
                <a:pos x="569" y="484"/>
              </a:cxn>
              <a:cxn ang="0">
                <a:pos x="542" y="489"/>
              </a:cxn>
              <a:cxn ang="0">
                <a:pos x="509" y="481"/>
              </a:cxn>
              <a:cxn ang="0">
                <a:pos x="477" y="460"/>
              </a:cxn>
              <a:cxn ang="0">
                <a:pos x="463" y="456"/>
              </a:cxn>
              <a:cxn ang="0">
                <a:pos x="443" y="457"/>
              </a:cxn>
              <a:cxn ang="0">
                <a:pos x="423" y="465"/>
              </a:cxn>
              <a:cxn ang="0">
                <a:pos x="406" y="477"/>
              </a:cxn>
              <a:cxn ang="0">
                <a:pos x="388" y="503"/>
              </a:cxn>
              <a:cxn ang="0">
                <a:pos x="385" y="517"/>
              </a:cxn>
              <a:cxn ang="0">
                <a:pos x="333" y="515"/>
              </a:cxn>
              <a:cxn ang="0">
                <a:pos x="317" y="507"/>
              </a:cxn>
              <a:cxn ang="0">
                <a:pos x="307" y="500"/>
              </a:cxn>
              <a:cxn ang="0">
                <a:pos x="296" y="508"/>
              </a:cxn>
              <a:cxn ang="0">
                <a:pos x="287" y="516"/>
              </a:cxn>
              <a:cxn ang="0">
                <a:pos x="268" y="516"/>
              </a:cxn>
              <a:cxn ang="0">
                <a:pos x="227" y="506"/>
              </a:cxn>
              <a:cxn ang="0">
                <a:pos x="185" y="487"/>
              </a:cxn>
              <a:cxn ang="0">
                <a:pos x="160" y="469"/>
              </a:cxn>
              <a:cxn ang="0">
                <a:pos x="146" y="450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/>
            <a:ahLst/>
            <a:cxnLst>
              <a:cxn ang="0">
                <a:pos x="332" y="91"/>
              </a:cxn>
              <a:cxn ang="0">
                <a:pos x="352" y="153"/>
              </a:cxn>
              <a:cxn ang="0">
                <a:pos x="326" y="141"/>
              </a:cxn>
              <a:cxn ang="0">
                <a:pos x="299" y="129"/>
              </a:cxn>
              <a:cxn ang="0">
                <a:pos x="266" y="141"/>
              </a:cxn>
              <a:cxn ang="0">
                <a:pos x="232" y="141"/>
              </a:cxn>
              <a:cxn ang="0">
                <a:pos x="227" y="135"/>
              </a:cxn>
              <a:cxn ang="0">
                <a:pos x="226" y="135"/>
              </a:cxn>
              <a:cxn ang="0">
                <a:pos x="219" y="129"/>
              </a:cxn>
              <a:cxn ang="0">
                <a:pos x="213" y="125"/>
              </a:cxn>
              <a:cxn ang="0">
                <a:pos x="205" y="121"/>
              </a:cxn>
              <a:cxn ang="0">
                <a:pos x="197" y="118"/>
              </a:cxn>
              <a:cxn ang="0">
                <a:pos x="181" y="113"/>
              </a:cxn>
              <a:cxn ang="0">
                <a:pos x="163" y="110"/>
              </a:cxn>
              <a:cxn ang="0">
                <a:pos x="126" y="107"/>
              </a:cxn>
              <a:cxn ang="0">
                <a:pos x="86" y="104"/>
              </a:cxn>
              <a:cxn ang="0">
                <a:pos x="85" y="94"/>
              </a:cxn>
              <a:cxn ang="0">
                <a:pos x="82" y="84"/>
              </a:cxn>
              <a:cxn ang="0">
                <a:pos x="80" y="75"/>
              </a:cxn>
              <a:cxn ang="0">
                <a:pos x="75" y="67"/>
              </a:cxn>
              <a:cxn ang="0">
                <a:pos x="71" y="59"/>
              </a:cxn>
              <a:cxn ang="0">
                <a:pos x="67" y="52"/>
              </a:cxn>
              <a:cxn ang="0">
                <a:pos x="61" y="44"/>
              </a:cxn>
              <a:cxn ang="0">
                <a:pos x="56" y="37"/>
              </a:cxn>
              <a:cxn ang="0">
                <a:pos x="44" y="26"/>
              </a:cxn>
              <a:cxn ang="0">
                <a:pos x="29" y="16"/>
              </a:cxn>
              <a:cxn ang="0">
                <a:pos x="15" y="7"/>
              </a:cxn>
              <a:cxn ang="0">
                <a:pos x="0" y="0"/>
              </a:cxn>
              <a:cxn ang="0">
                <a:pos x="7" y="0"/>
              </a:cxn>
              <a:cxn ang="0">
                <a:pos x="60" y="18"/>
              </a:cxn>
              <a:cxn ang="0">
                <a:pos x="106" y="30"/>
              </a:cxn>
              <a:cxn ang="0">
                <a:pos x="134" y="18"/>
              </a:cxn>
              <a:cxn ang="0">
                <a:pos x="180" y="36"/>
              </a:cxn>
              <a:cxn ang="0">
                <a:pos x="206" y="55"/>
              </a:cxn>
              <a:cxn ang="0">
                <a:pos x="246" y="49"/>
              </a:cxn>
              <a:cxn ang="0">
                <a:pos x="286" y="61"/>
              </a:cxn>
              <a:cxn ang="0">
                <a:pos x="313" y="79"/>
              </a:cxn>
              <a:cxn ang="0">
                <a:pos x="332" y="91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/>
            <a:ahLst/>
            <a:cxnLst>
              <a:cxn ang="0">
                <a:pos x="230" y="40"/>
              </a:cxn>
              <a:cxn ang="0">
                <a:pos x="193" y="56"/>
              </a:cxn>
              <a:cxn ang="0">
                <a:pos x="182" y="67"/>
              </a:cxn>
              <a:cxn ang="0">
                <a:pos x="181" y="81"/>
              </a:cxn>
              <a:cxn ang="0">
                <a:pos x="184" y="94"/>
              </a:cxn>
              <a:cxn ang="0">
                <a:pos x="177" y="102"/>
              </a:cxn>
              <a:cxn ang="0">
                <a:pos x="168" y="105"/>
              </a:cxn>
              <a:cxn ang="0">
                <a:pos x="160" y="98"/>
              </a:cxn>
              <a:cxn ang="0">
                <a:pos x="149" y="85"/>
              </a:cxn>
              <a:cxn ang="0">
                <a:pos x="126" y="74"/>
              </a:cxn>
              <a:cxn ang="0">
                <a:pos x="127" y="96"/>
              </a:cxn>
              <a:cxn ang="0">
                <a:pos x="139" y="116"/>
              </a:cxn>
              <a:cxn ang="0">
                <a:pos x="154" y="129"/>
              </a:cxn>
              <a:cxn ang="0">
                <a:pos x="159" y="130"/>
              </a:cxn>
              <a:cxn ang="0">
                <a:pos x="159" y="177"/>
              </a:cxn>
              <a:cxn ang="0">
                <a:pos x="159" y="237"/>
              </a:cxn>
              <a:cxn ang="0">
                <a:pos x="156" y="251"/>
              </a:cxn>
              <a:cxn ang="0">
                <a:pos x="147" y="259"/>
              </a:cxn>
              <a:cxn ang="0">
                <a:pos x="145" y="264"/>
              </a:cxn>
              <a:cxn ang="0">
                <a:pos x="162" y="276"/>
              </a:cxn>
              <a:cxn ang="0">
                <a:pos x="167" y="286"/>
              </a:cxn>
              <a:cxn ang="0">
                <a:pos x="155" y="295"/>
              </a:cxn>
              <a:cxn ang="0">
                <a:pos x="140" y="297"/>
              </a:cxn>
              <a:cxn ang="0">
                <a:pos x="130" y="307"/>
              </a:cxn>
              <a:cxn ang="0">
                <a:pos x="126" y="321"/>
              </a:cxn>
              <a:cxn ang="0">
                <a:pos x="121" y="300"/>
              </a:cxn>
              <a:cxn ang="0">
                <a:pos x="124" y="288"/>
              </a:cxn>
              <a:cxn ang="0">
                <a:pos x="109" y="286"/>
              </a:cxn>
              <a:cxn ang="0">
                <a:pos x="93" y="292"/>
              </a:cxn>
              <a:cxn ang="0">
                <a:pos x="79" y="296"/>
              </a:cxn>
              <a:cxn ang="0">
                <a:pos x="73" y="242"/>
              </a:cxn>
              <a:cxn ang="0">
                <a:pos x="79" y="216"/>
              </a:cxn>
              <a:cxn ang="0">
                <a:pos x="48" y="211"/>
              </a:cxn>
              <a:cxn ang="0">
                <a:pos x="28" y="198"/>
              </a:cxn>
              <a:cxn ang="0">
                <a:pos x="13" y="173"/>
              </a:cxn>
              <a:cxn ang="0">
                <a:pos x="0" y="130"/>
              </a:cxn>
              <a:cxn ang="0">
                <a:pos x="28" y="111"/>
              </a:cxn>
              <a:cxn ang="0">
                <a:pos x="50" y="81"/>
              </a:cxn>
              <a:cxn ang="0">
                <a:pos x="73" y="55"/>
              </a:cxn>
              <a:cxn ang="0">
                <a:pos x="115" y="41"/>
              </a:cxn>
              <a:cxn ang="0">
                <a:pos x="180" y="14"/>
              </a:cxn>
              <a:cxn ang="0">
                <a:pos x="218" y="7"/>
              </a:cxn>
              <a:cxn ang="0">
                <a:pos x="249" y="14"/>
              </a:cxn>
              <a:cxn ang="0">
                <a:pos x="271" y="27"/>
              </a:cxn>
              <a:cxn ang="0">
                <a:pos x="292" y="30"/>
              </a:cxn>
              <a:cxn ang="0">
                <a:pos x="307" y="20"/>
              </a:cxn>
              <a:cxn ang="0">
                <a:pos x="327" y="6"/>
              </a:cxn>
              <a:cxn ang="0">
                <a:pos x="330" y="32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4" y="2"/>
              </a:cxn>
              <a:cxn ang="0">
                <a:pos x="83" y="6"/>
              </a:cxn>
              <a:cxn ang="0">
                <a:pos x="103" y="8"/>
              </a:cxn>
              <a:cxn ang="0">
                <a:pos x="121" y="7"/>
              </a:cxn>
              <a:cxn ang="0">
                <a:pos x="130" y="6"/>
              </a:cxn>
              <a:cxn ang="0">
                <a:pos x="137" y="5"/>
              </a:cxn>
              <a:cxn ang="0">
                <a:pos x="145" y="3"/>
              </a:cxn>
              <a:cxn ang="0">
                <a:pos x="153" y="0"/>
              </a:cxn>
              <a:cxn ang="0">
                <a:pos x="153" y="9"/>
              </a:cxn>
              <a:cxn ang="0">
                <a:pos x="153" y="25"/>
              </a:cxn>
              <a:cxn ang="0">
                <a:pos x="143" y="31"/>
              </a:cxn>
              <a:cxn ang="0">
                <a:pos x="133" y="36"/>
              </a:cxn>
              <a:cxn ang="0">
                <a:pos x="124" y="40"/>
              </a:cxn>
              <a:cxn ang="0">
                <a:pos x="114" y="44"/>
              </a:cxn>
              <a:cxn ang="0">
                <a:pos x="106" y="46"/>
              </a:cxn>
              <a:cxn ang="0">
                <a:pos x="99" y="48"/>
              </a:cxn>
              <a:cxn ang="0">
                <a:pos x="92" y="49"/>
              </a:cxn>
              <a:cxn ang="0">
                <a:pos x="87" y="49"/>
              </a:cxn>
              <a:cxn ang="0">
                <a:pos x="72" y="48"/>
              </a:cxn>
              <a:cxn ang="0">
                <a:pos x="60" y="46"/>
              </a:cxn>
              <a:cxn ang="0">
                <a:pos x="50" y="43"/>
              </a:cxn>
              <a:cxn ang="0">
                <a:pos x="41" y="38"/>
              </a:cxn>
              <a:cxn ang="0">
                <a:pos x="22" y="29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/>
            <a:ahLst/>
            <a:cxnLst>
              <a:cxn ang="0">
                <a:pos x="194" y="16"/>
              </a:cxn>
              <a:cxn ang="0">
                <a:pos x="216" y="22"/>
              </a:cxn>
              <a:cxn ang="0">
                <a:pos x="230" y="29"/>
              </a:cxn>
              <a:cxn ang="0">
                <a:pos x="253" y="35"/>
              </a:cxn>
              <a:cxn ang="0">
                <a:pos x="279" y="37"/>
              </a:cxn>
              <a:cxn ang="0">
                <a:pos x="300" y="37"/>
              </a:cxn>
              <a:cxn ang="0">
                <a:pos x="319" y="34"/>
              </a:cxn>
              <a:cxn ang="0">
                <a:pos x="329" y="29"/>
              </a:cxn>
              <a:cxn ang="0">
                <a:pos x="365" y="25"/>
              </a:cxn>
              <a:cxn ang="0">
                <a:pos x="372" y="49"/>
              </a:cxn>
              <a:cxn ang="0">
                <a:pos x="383" y="74"/>
              </a:cxn>
              <a:cxn ang="0">
                <a:pos x="391" y="84"/>
              </a:cxn>
              <a:cxn ang="0">
                <a:pos x="400" y="92"/>
              </a:cxn>
              <a:cxn ang="0">
                <a:pos x="412" y="97"/>
              </a:cxn>
              <a:cxn ang="0">
                <a:pos x="425" y="99"/>
              </a:cxn>
              <a:cxn ang="0">
                <a:pos x="425" y="120"/>
              </a:cxn>
              <a:cxn ang="0">
                <a:pos x="425" y="142"/>
              </a:cxn>
              <a:cxn ang="0">
                <a:pos x="416" y="158"/>
              </a:cxn>
              <a:cxn ang="0">
                <a:pos x="412" y="170"/>
              </a:cxn>
              <a:cxn ang="0">
                <a:pos x="412" y="181"/>
              </a:cxn>
              <a:cxn ang="0">
                <a:pos x="415" y="190"/>
              </a:cxn>
              <a:cxn ang="0">
                <a:pos x="423" y="211"/>
              </a:cxn>
              <a:cxn ang="0">
                <a:pos x="426" y="226"/>
              </a:cxn>
              <a:cxn ang="0">
                <a:pos x="425" y="247"/>
              </a:cxn>
              <a:cxn ang="0">
                <a:pos x="426" y="274"/>
              </a:cxn>
              <a:cxn ang="0">
                <a:pos x="423" y="285"/>
              </a:cxn>
              <a:cxn ang="0">
                <a:pos x="412" y="296"/>
              </a:cxn>
              <a:cxn ang="0">
                <a:pos x="380" y="298"/>
              </a:cxn>
              <a:cxn ang="0">
                <a:pos x="370" y="299"/>
              </a:cxn>
              <a:cxn ang="0">
                <a:pos x="360" y="296"/>
              </a:cxn>
              <a:cxn ang="0">
                <a:pos x="351" y="290"/>
              </a:cxn>
              <a:cxn ang="0">
                <a:pos x="338" y="278"/>
              </a:cxn>
              <a:cxn ang="0">
                <a:pos x="324" y="261"/>
              </a:cxn>
              <a:cxn ang="0">
                <a:pos x="311" y="253"/>
              </a:cxn>
              <a:cxn ang="0">
                <a:pos x="294" y="251"/>
              </a:cxn>
              <a:cxn ang="0">
                <a:pos x="278" y="232"/>
              </a:cxn>
              <a:cxn ang="0">
                <a:pos x="274" y="210"/>
              </a:cxn>
              <a:cxn ang="0">
                <a:pos x="269" y="197"/>
              </a:cxn>
              <a:cxn ang="0">
                <a:pos x="261" y="184"/>
              </a:cxn>
              <a:cxn ang="0">
                <a:pos x="251" y="173"/>
              </a:cxn>
              <a:cxn ang="0">
                <a:pos x="238" y="165"/>
              </a:cxn>
              <a:cxn ang="0">
                <a:pos x="222" y="161"/>
              </a:cxn>
              <a:cxn ang="0">
                <a:pos x="204" y="161"/>
              </a:cxn>
              <a:cxn ang="0">
                <a:pos x="188" y="163"/>
              </a:cxn>
              <a:cxn ang="0">
                <a:pos x="173" y="168"/>
              </a:cxn>
              <a:cxn ang="0">
                <a:pos x="160" y="176"/>
              </a:cxn>
              <a:cxn ang="0">
                <a:pos x="141" y="191"/>
              </a:cxn>
              <a:cxn ang="0">
                <a:pos x="118" y="215"/>
              </a:cxn>
              <a:cxn ang="0">
                <a:pos x="105" y="218"/>
              </a:cxn>
              <a:cxn ang="0">
                <a:pos x="100" y="201"/>
              </a:cxn>
              <a:cxn ang="0">
                <a:pos x="90" y="186"/>
              </a:cxn>
              <a:cxn ang="0">
                <a:pos x="76" y="171"/>
              </a:cxn>
              <a:cxn ang="0">
                <a:pos x="50" y="153"/>
              </a:cxn>
              <a:cxn ang="0">
                <a:pos x="24" y="134"/>
              </a:cxn>
              <a:cxn ang="0">
                <a:pos x="8" y="119"/>
              </a:cxn>
              <a:cxn ang="0">
                <a:pos x="15" y="101"/>
              </a:cxn>
              <a:cxn ang="0">
                <a:pos x="46" y="77"/>
              </a:cxn>
              <a:cxn ang="0">
                <a:pos x="75" y="48"/>
              </a:cxn>
              <a:cxn ang="0">
                <a:pos x="98" y="17"/>
              </a:cxn>
              <a:cxn ang="0">
                <a:pos x="179" y="13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/>
            <a:ahLst/>
            <a:cxnLst>
              <a:cxn ang="0">
                <a:pos x="53" y="382"/>
              </a:cxn>
              <a:cxn ang="0">
                <a:pos x="53" y="358"/>
              </a:cxn>
              <a:cxn ang="0">
                <a:pos x="53" y="333"/>
              </a:cxn>
              <a:cxn ang="0">
                <a:pos x="50" y="312"/>
              </a:cxn>
              <a:cxn ang="0">
                <a:pos x="43" y="293"/>
              </a:cxn>
              <a:cxn ang="0">
                <a:pos x="35" y="277"/>
              </a:cxn>
              <a:cxn ang="0">
                <a:pos x="13" y="245"/>
              </a:cxn>
              <a:cxn ang="0">
                <a:pos x="0" y="185"/>
              </a:cxn>
              <a:cxn ang="0">
                <a:pos x="33" y="181"/>
              </a:cxn>
              <a:cxn ang="0">
                <a:pos x="40" y="169"/>
              </a:cxn>
              <a:cxn ang="0">
                <a:pos x="41" y="150"/>
              </a:cxn>
              <a:cxn ang="0">
                <a:pos x="38" y="107"/>
              </a:cxn>
              <a:cxn ang="0">
                <a:pos x="31" y="65"/>
              </a:cxn>
              <a:cxn ang="0">
                <a:pos x="32" y="47"/>
              </a:cxn>
              <a:cxn ang="0">
                <a:pos x="36" y="36"/>
              </a:cxn>
              <a:cxn ang="0">
                <a:pos x="120" y="31"/>
              </a:cxn>
              <a:cxn ang="0">
                <a:pos x="122" y="22"/>
              </a:cxn>
              <a:cxn ang="0">
                <a:pos x="128" y="14"/>
              </a:cxn>
              <a:cxn ang="0">
                <a:pos x="140" y="0"/>
              </a:cxn>
              <a:cxn ang="0">
                <a:pos x="142" y="18"/>
              </a:cxn>
              <a:cxn ang="0">
                <a:pos x="142" y="26"/>
              </a:cxn>
              <a:cxn ang="0">
                <a:pos x="140" y="31"/>
              </a:cxn>
              <a:cxn ang="0">
                <a:pos x="168" y="31"/>
              </a:cxn>
              <a:cxn ang="0">
                <a:pos x="186" y="31"/>
              </a:cxn>
              <a:cxn ang="0">
                <a:pos x="214" y="38"/>
              </a:cxn>
              <a:cxn ang="0">
                <a:pos x="233" y="49"/>
              </a:cxn>
              <a:cxn ang="0">
                <a:pos x="246" y="58"/>
              </a:cxn>
              <a:cxn ang="0">
                <a:pos x="259" y="61"/>
              </a:cxn>
              <a:cxn ang="0">
                <a:pos x="268" y="59"/>
              </a:cxn>
              <a:cxn ang="0">
                <a:pos x="275" y="54"/>
              </a:cxn>
              <a:cxn ang="0">
                <a:pos x="286" y="37"/>
              </a:cxn>
              <a:cxn ang="0">
                <a:pos x="312" y="52"/>
              </a:cxn>
              <a:cxn ang="0">
                <a:pos x="325" y="59"/>
              </a:cxn>
              <a:cxn ang="0">
                <a:pos x="338" y="61"/>
              </a:cxn>
              <a:cxn ang="0">
                <a:pos x="353" y="161"/>
              </a:cxn>
              <a:cxn ang="0">
                <a:pos x="338" y="185"/>
              </a:cxn>
              <a:cxn ang="0">
                <a:pos x="323" y="206"/>
              </a:cxn>
              <a:cxn ang="0">
                <a:pos x="315" y="224"/>
              </a:cxn>
              <a:cxn ang="0">
                <a:pos x="313" y="239"/>
              </a:cxn>
              <a:cxn ang="0">
                <a:pos x="313" y="255"/>
              </a:cxn>
              <a:cxn ang="0">
                <a:pos x="321" y="273"/>
              </a:cxn>
              <a:cxn ang="0">
                <a:pos x="331" y="293"/>
              </a:cxn>
              <a:cxn ang="0">
                <a:pos x="337" y="309"/>
              </a:cxn>
              <a:cxn ang="0">
                <a:pos x="337" y="321"/>
              </a:cxn>
              <a:cxn ang="0">
                <a:pos x="330" y="337"/>
              </a:cxn>
              <a:cxn ang="0">
                <a:pos x="326" y="351"/>
              </a:cxn>
              <a:cxn ang="0">
                <a:pos x="319" y="358"/>
              </a:cxn>
              <a:cxn ang="0">
                <a:pos x="308" y="356"/>
              </a:cxn>
              <a:cxn ang="0">
                <a:pos x="298" y="350"/>
              </a:cxn>
              <a:cxn ang="0">
                <a:pos x="287" y="340"/>
              </a:cxn>
              <a:cxn ang="0">
                <a:pos x="277" y="335"/>
              </a:cxn>
              <a:cxn ang="0">
                <a:pos x="266" y="333"/>
              </a:cxn>
              <a:cxn ang="0">
                <a:pos x="246" y="333"/>
              </a:cxn>
              <a:cxn ang="0">
                <a:pos x="221" y="336"/>
              </a:cxn>
              <a:cxn ang="0">
                <a:pos x="181" y="343"/>
              </a:cxn>
              <a:cxn ang="0">
                <a:pos x="131" y="359"/>
              </a:cxn>
              <a:cxn ang="0">
                <a:pos x="86" y="375"/>
              </a:cxn>
              <a:cxn ang="0">
                <a:pos x="53" y="394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/>
            <a:ahLst/>
            <a:cxnLst>
              <a:cxn ang="0">
                <a:pos x="410" y="105"/>
              </a:cxn>
              <a:cxn ang="0">
                <a:pos x="405" y="98"/>
              </a:cxn>
              <a:cxn ang="0">
                <a:pos x="408" y="92"/>
              </a:cxn>
              <a:cxn ang="0">
                <a:pos x="422" y="77"/>
              </a:cxn>
              <a:cxn ang="0">
                <a:pos x="441" y="60"/>
              </a:cxn>
              <a:cxn ang="0">
                <a:pos x="447" y="50"/>
              </a:cxn>
              <a:cxn ang="0">
                <a:pos x="449" y="37"/>
              </a:cxn>
              <a:cxn ang="0">
                <a:pos x="432" y="34"/>
              </a:cxn>
              <a:cxn ang="0">
                <a:pos x="422" y="27"/>
              </a:cxn>
              <a:cxn ang="0">
                <a:pos x="411" y="21"/>
              </a:cxn>
              <a:cxn ang="0">
                <a:pos x="390" y="18"/>
              </a:cxn>
              <a:cxn ang="0">
                <a:pos x="377" y="20"/>
              </a:cxn>
              <a:cxn ang="0">
                <a:pos x="368" y="24"/>
              </a:cxn>
              <a:cxn ang="0">
                <a:pos x="355" y="37"/>
              </a:cxn>
              <a:cxn ang="0">
                <a:pos x="340" y="50"/>
              </a:cxn>
              <a:cxn ang="0">
                <a:pos x="326" y="54"/>
              </a:cxn>
              <a:cxn ang="0">
                <a:pos x="310" y="55"/>
              </a:cxn>
              <a:cxn ang="0">
                <a:pos x="287" y="54"/>
              </a:cxn>
              <a:cxn ang="0">
                <a:pos x="267" y="50"/>
              </a:cxn>
              <a:cxn ang="0">
                <a:pos x="235" y="36"/>
              </a:cxn>
              <a:cxn ang="0">
                <a:pos x="206" y="19"/>
              </a:cxn>
              <a:cxn ang="0">
                <a:pos x="189" y="12"/>
              </a:cxn>
              <a:cxn ang="0">
                <a:pos x="170" y="6"/>
              </a:cxn>
              <a:cxn ang="0">
                <a:pos x="134" y="8"/>
              </a:cxn>
              <a:cxn ang="0">
                <a:pos x="119" y="6"/>
              </a:cxn>
              <a:cxn ang="0">
                <a:pos x="103" y="0"/>
              </a:cxn>
              <a:cxn ang="0">
                <a:pos x="52" y="0"/>
              </a:cxn>
              <a:cxn ang="0">
                <a:pos x="5" y="0"/>
              </a:cxn>
              <a:cxn ang="0">
                <a:pos x="5" y="18"/>
              </a:cxn>
              <a:cxn ang="0">
                <a:pos x="5" y="37"/>
              </a:cxn>
              <a:cxn ang="0">
                <a:pos x="15" y="60"/>
              </a:cxn>
              <a:cxn ang="0">
                <a:pos x="23" y="91"/>
              </a:cxn>
              <a:cxn ang="0">
                <a:pos x="31" y="128"/>
              </a:cxn>
              <a:cxn ang="0">
                <a:pos x="38" y="172"/>
              </a:cxn>
              <a:cxn ang="0">
                <a:pos x="37" y="206"/>
              </a:cxn>
              <a:cxn ang="0">
                <a:pos x="29" y="230"/>
              </a:cxn>
              <a:cxn ang="0">
                <a:pos x="7" y="269"/>
              </a:cxn>
              <a:cxn ang="0">
                <a:pos x="10" y="321"/>
              </a:cxn>
              <a:cxn ang="0">
                <a:pos x="28" y="339"/>
              </a:cxn>
              <a:cxn ang="0">
                <a:pos x="84" y="367"/>
              </a:cxn>
              <a:cxn ang="0">
                <a:pos x="136" y="396"/>
              </a:cxn>
              <a:cxn ang="0">
                <a:pos x="170" y="420"/>
              </a:cxn>
              <a:cxn ang="0">
                <a:pos x="189" y="436"/>
              </a:cxn>
              <a:cxn ang="0">
                <a:pos x="198" y="451"/>
              </a:cxn>
              <a:cxn ang="0">
                <a:pos x="201" y="464"/>
              </a:cxn>
              <a:cxn ang="0">
                <a:pos x="209" y="479"/>
              </a:cxn>
              <a:cxn ang="0">
                <a:pos x="220" y="492"/>
              </a:cxn>
              <a:cxn ang="0">
                <a:pos x="233" y="503"/>
              </a:cxn>
              <a:cxn ang="0">
                <a:pos x="247" y="512"/>
              </a:cxn>
              <a:cxn ang="0">
                <a:pos x="264" y="519"/>
              </a:cxn>
              <a:cxn ang="0">
                <a:pos x="281" y="523"/>
              </a:cxn>
              <a:cxn ang="0">
                <a:pos x="304" y="502"/>
              </a:cxn>
              <a:cxn ang="0">
                <a:pos x="335" y="462"/>
              </a:cxn>
              <a:cxn ang="0">
                <a:pos x="365" y="427"/>
              </a:cxn>
              <a:cxn ang="0">
                <a:pos x="394" y="390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/>
            <a:ahLst/>
            <a:cxnLst>
              <a:cxn ang="0">
                <a:pos x="12" y="228"/>
              </a:cxn>
              <a:cxn ang="0">
                <a:pos x="36" y="240"/>
              </a:cxn>
              <a:cxn ang="0">
                <a:pos x="53" y="245"/>
              </a:cxn>
              <a:cxn ang="0">
                <a:pos x="68" y="245"/>
              </a:cxn>
              <a:cxn ang="0">
                <a:pos x="85" y="241"/>
              </a:cxn>
              <a:cxn ang="0">
                <a:pos x="110" y="228"/>
              </a:cxn>
              <a:cxn ang="0">
                <a:pos x="141" y="205"/>
              </a:cxn>
              <a:cxn ang="0">
                <a:pos x="161" y="184"/>
              </a:cxn>
              <a:cxn ang="0">
                <a:pos x="159" y="173"/>
              </a:cxn>
              <a:cxn ang="0">
                <a:pos x="149" y="160"/>
              </a:cxn>
              <a:cxn ang="0">
                <a:pos x="143" y="145"/>
              </a:cxn>
              <a:cxn ang="0">
                <a:pos x="141" y="130"/>
              </a:cxn>
              <a:cxn ang="0">
                <a:pos x="141" y="116"/>
              </a:cxn>
              <a:cxn ang="0">
                <a:pos x="146" y="105"/>
              </a:cxn>
              <a:cxn ang="0">
                <a:pos x="156" y="94"/>
              </a:cxn>
              <a:cxn ang="0">
                <a:pos x="168" y="86"/>
              </a:cxn>
              <a:cxn ang="0">
                <a:pos x="204" y="71"/>
              </a:cxn>
              <a:cxn ang="0">
                <a:pos x="225" y="49"/>
              </a:cxn>
              <a:cxn ang="0">
                <a:pos x="221" y="30"/>
              </a:cxn>
              <a:cxn ang="0">
                <a:pos x="214" y="17"/>
              </a:cxn>
              <a:cxn ang="0">
                <a:pos x="212" y="6"/>
              </a:cxn>
              <a:cxn ang="0">
                <a:pos x="202" y="1"/>
              </a:cxn>
              <a:cxn ang="0">
                <a:pos x="181" y="7"/>
              </a:cxn>
              <a:cxn ang="0">
                <a:pos x="154" y="20"/>
              </a:cxn>
              <a:cxn ang="0">
                <a:pos x="121" y="38"/>
              </a:cxn>
              <a:cxn ang="0">
                <a:pos x="100" y="51"/>
              </a:cxn>
              <a:cxn ang="0">
                <a:pos x="87" y="55"/>
              </a:cxn>
              <a:cxn ang="0">
                <a:pos x="75" y="54"/>
              </a:cxn>
              <a:cxn ang="0">
                <a:pos x="59" y="47"/>
              </a:cxn>
              <a:cxn ang="0">
                <a:pos x="36" y="31"/>
              </a:cxn>
              <a:cxn ang="0">
                <a:pos x="24" y="39"/>
              </a:cxn>
              <a:cxn ang="0">
                <a:pos x="18" y="95"/>
              </a:cxn>
              <a:cxn ang="0">
                <a:pos x="10" y="163"/>
              </a:cxn>
              <a:cxn ang="0">
                <a:pos x="3" y="212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9" y="2"/>
              </a:cxn>
              <a:cxn ang="0">
                <a:pos x="32" y="3"/>
              </a:cxn>
              <a:cxn ang="0">
                <a:pos x="36" y="3"/>
              </a:cxn>
              <a:cxn ang="0">
                <a:pos x="40" y="2"/>
              </a:cxn>
              <a:cxn ang="0">
                <a:pos x="47" y="1"/>
              </a:cxn>
              <a:cxn ang="0">
                <a:pos x="53" y="0"/>
              </a:cxn>
              <a:cxn ang="0">
                <a:pos x="53" y="26"/>
              </a:cxn>
              <a:cxn ang="0">
                <a:pos x="54" y="47"/>
              </a:cxn>
              <a:cxn ang="0">
                <a:pos x="54" y="57"/>
              </a:cxn>
              <a:cxn ang="0">
                <a:pos x="56" y="65"/>
              </a:cxn>
              <a:cxn ang="0">
                <a:pos x="58" y="73"/>
              </a:cxn>
              <a:cxn ang="0">
                <a:pos x="60" y="81"/>
              </a:cxn>
              <a:cxn ang="0">
                <a:pos x="20" y="81"/>
              </a:cxn>
              <a:cxn ang="0">
                <a:pos x="14" y="80"/>
              </a:cxn>
              <a:cxn ang="0">
                <a:pos x="7" y="77"/>
              </a:cxn>
              <a:cxn ang="0">
                <a:pos x="5" y="74"/>
              </a:cxn>
              <a:cxn ang="0">
                <a:pos x="2" y="72"/>
              </a:cxn>
              <a:cxn ang="0">
                <a:pos x="1" y="70"/>
              </a:cxn>
              <a:cxn ang="0">
                <a:pos x="0" y="68"/>
              </a:cxn>
              <a:cxn ang="0">
                <a:pos x="7" y="12"/>
              </a:cxn>
              <a:cxn ang="0">
                <a:pos x="20" y="6"/>
              </a:cxn>
              <a:cxn ang="0">
                <a:pos x="34" y="0"/>
              </a:cxn>
              <a:cxn ang="0">
                <a:pos x="27" y="0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/>
            <a:ahLst/>
            <a:cxnLst>
              <a:cxn ang="0">
                <a:pos x="250" y="117"/>
              </a:cxn>
              <a:cxn ang="0">
                <a:pos x="258" y="119"/>
              </a:cxn>
              <a:cxn ang="0">
                <a:pos x="277" y="123"/>
              </a:cxn>
              <a:cxn ang="0">
                <a:pos x="295" y="127"/>
              </a:cxn>
              <a:cxn ang="0">
                <a:pos x="303" y="129"/>
              </a:cxn>
              <a:cxn ang="0">
                <a:pos x="370" y="97"/>
              </a:cxn>
              <a:cxn ang="0">
                <a:pos x="358" y="75"/>
              </a:cxn>
              <a:cxn ang="0">
                <a:pos x="345" y="48"/>
              </a:cxn>
              <a:cxn ang="0">
                <a:pos x="335" y="27"/>
              </a:cxn>
              <a:cxn ang="0">
                <a:pos x="330" y="18"/>
              </a:cxn>
              <a:cxn ang="0">
                <a:pos x="300" y="15"/>
              </a:cxn>
              <a:cxn ang="0">
                <a:pos x="257" y="9"/>
              </a:cxn>
              <a:cxn ang="0">
                <a:pos x="214" y="2"/>
              </a:cxn>
              <a:cxn ang="0">
                <a:pos x="183" y="0"/>
              </a:cxn>
              <a:cxn ang="0">
                <a:pos x="179" y="0"/>
              </a:cxn>
              <a:cxn ang="0">
                <a:pos x="176" y="1"/>
              </a:cxn>
              <a:cxn ang="0">
                <a:pos x="172" y="2"/>
              </a:cxn>
              <a:cxn ang="0">
                <a:pos x="170" y="3"/>
              </a:cxn>
              <a:cxn ang="0">
                <a:pos x="162" y="7"/>
              </a:cxn>
              <a:cxn ang="0">
                <a:pos x="150" y="12"/>
              </a:cxn>
              <a:cxn ang="0">
                <a:pos x="147" y="21"/>
              </a:cxn>
              <a:cxn ang="0">
                <a:pos x="140" y="35"/>
              </a:cxn>
              <a:cxn ang="0">
                <a:pos x="134" y="48"/>
              </a:cxn>
              <a:cxn ang="0">
                <a:pos x="131" y="55"/>
              </a:cxn>
              <a:cxn ang="0">
                <a:pos x="122" y="54"/>
              </a:cxn>
              <a:cxn ang="0">
                <a:pos x="111" y="49"/>
              </a:cxn>
              <a:cxn ang="0">
                <a:pos x="98" y="44"/>
              </a:cxn>
              <a:cxn ang="0">
                <a:pos x="84" y="38"/>
              </a:cxn>
              <a:cxn ang="0">
                <a:pos x="60" y="26"/>
              </a:cxn>
              <a:cxn ang="0">
                <a:pos x="44" y="18"/>
              </a:cxn>
              <a:cxn ang="0">
                <a:pos x="32" y="25"/>
              </a:cxn>
              <a:cxn ang="0">
                <a:pos x="21" y="33"/>
              </a:cxn>
              <a:cxn ang="0">
                <a:pos x="16" y="37"/>
              </a:cxn>
              <a:cxn ang="0">
                <a:pos x="12" y="41"/>
              </a:cxn>
              <a:cxn ang="0">
                <a:pos x="9" y="46"/>
              </a:cxn>
              <a:cxn ang="0">
                <a:pos x="5" y="52"/>
              </a:cxn>
              <a:cxn ang="0">
                <a:pos x="3" y="57"/>
              </a:cxn>
              <a:cxn ang="0">
                <a:pos x="1" y="63"/>
              </a:cxn>
              <a:cxn ang="0">
                <a:pos x="0" y="69"/>
              </a:cxn>
              <a:cxn ang="0">
                <a:pos x="0" y="75"/>
              </a:cxn>
              <a:cxn ang="0">
                <a:pos x="1" y="82"/>
              </a:cxn>
              <a:cxn ang="0">
                <a:pos x="3" y="88"/>
              </a:cxn>
              <a:cxn ang="0">
                <a:pos x="6" y="96"/>
              </a:cxn>
              <a:cxn ang="0">
                <a:pos x="11" y="103"/>
              </a:cxn>
              <a:cxn ang="0">
                <a:pos x="20" y="101"/>
              </a:cxn>
              <a:cxn ang="0">
                <a:pos x="33" y="99"/>
              </a:cxn>
              <a:cxn ang="0">
                <a:pos x="50" y="97"/>
              </a:cxn>
              <a:cxn ang="0">
                <a:pos x="69" y="95"/>
              </a:cxn>
              <a:cxn ang="0">
                <a:pos x="102" y="92"/>
              </a:cxn>
              <a:cxn ang="0">
                <a:pos x="117" y="91"/>
              </a:cxn>
              <a:cxn ang="0">
                <a:pos x="137" y="92"/>
              </a:cxn>
              <a:cxn ang="0">
                <a:pos x="152" y="94"/>
              </a:cxn>
              <a:cxn ang="0">
                <a:pos x="166" y="97"/>
              </a:cxn>
              <a:cxn ang="0">
                <a:pos x="177" y="100"/>
              </a:cxn>
              <a:cxn ang="0">
                <a:pos x="189" y="104"/>
              </a:cxn>
              <a:cxn ang="0">
                <a:pos x="201" y="108"/>
              </a:cxn>
              <a:cxn ang="0">
                <a:pos x="217" y="110"/>
              </a:cxn>
              <a:cxn ang="0">
                <a:pos x="237" y="111"/>
              </a:cxn>
              <a:cxn ang="0">
                <a:pos x="237" y="117"/>
              </a:cxn>
              <a:cxn ang="0">
                <a:pos x="250" y="117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34" y="0"/>
              </a:cxn>
              <a:cxn ang="0">
                <a:pos x="41" y="0"/>
              </a:cxn>
              <a:cxn ang="0">
                <a:pos x="47" y="2"/>
              </a:cxn>
              <a:cxn ang="0">
                <a:pos x="54" y="4"/>
              </a:cxn>
              <a:cxn ang="0">
                <a:pos x="60" y="6"/>
              </a:cxn>
              <a:cxn ang="0">
                <a:pos x="66" y="8"/>
              </a:cxn>
              <a:cxn ang="0">
                <a:pos x="73" y="8"/>
              </a:cxn>
              <a:cxn ang="0">
                <a:pos x="80" y="7"/>
              </a:cxn>
              <a:cxn ang="0">
                <a:pos x="80" y="38"/>
              </a:cxn>
              <a:cxn ang="0">
                <a:pos x="75" y="44"/>
              </a:cxn>
              <a:cxn ang="0">
                <a:pos x="69" y="51"/>
              </a:cxn>
              <a:cxn ang="0">
                <a:pos x="64" y="59"/>
              </a:cxn>
              <a:cxn ang="0">
                <a:pos x="58" y="68"/>
              </a:cxn>
              <a:cxn ang="0">
                <a:pos x="51" y="84"/>
              </a:cxn>
              <a:cxn ang="0">
                <a:pos x="47" y="94"/>
              </a:cxn>
              <a:cxn ang="0">
                <a:pos x="43" y="93"/>
              </a:cxn>
              <a:cxn ang="0">
                <a:pos x="40" y="92"/>
              </a:cxn>
              <a:cxn ang="0">
                <a:pos x="37" y="91"/>
              </a:cxn>
              <a:cxn ang="0">
                <a:pos x="34" y="89"/>
              </a:cxn>
              <a:cxn ang="0">
                <a:pos x="29" y="84"/>
              </a:cxn>
              <a:cxn ang="0">
                <a:pos x="23" y="78"/>
              </a:cxn>
              <a:cxn ang="0">
                <a:pos x="19" y="72"/>
              </a:cxn>
              <a:cxn ang="0">
                <a:pos x="13" y="65"/>
              </a:cxn>
              <a:cxn ang="0">
                <a:pos x="7" y="60"/>
              </a:cxn>
              <a:cxn ang="0">
                <a:pos x="0" y="56"/>
              </a:cxn>
              <a:cxn ang="0">
                <a:pos x="8" y="41"/>
              </a:cxn>
              <a:cxn ang="0">
                <a:pos x="13" y="29"/>
              </a:cxn>
              <a:cxn ang="0">
                <a:pos x="19" y="17"/>
              </a:cxn>
              <a:cxn ang="0">
                <a:pos x="27" y="1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/>
            <a:ahLst/>
            <a:cxnLst>
              <a:cxn ang="0">
                <a:pos x="192" y="155"/>
              </a:cxn>
              <a:cxn ang="0">
                <a:pos x="194" y="151"/>
              </a:cxn>
              <a:cxn ang="0">
                <a:pos x="197" y="148"/>
              </a:cxn>
              <a:cxn ang="0">
                <a:pos x="200" y="145"/>
              </a:cxn>
              <a:cxn ang="0">
                <a:pos x="203" y="142"/>
              </a:cxn>
              <a:cxn ang="0">
                <a:pos x="211" y="137"/>
              </a:cxn>
              <a:cxn ang="0">
                <a:pos x="220" y="132"/>
              </a:cxn>
              <a:cxn ang="0">
                <a:pos x="238" y="123"/>
              </a:cxn>
              <a:cxn ang="0">
                <a:pos x="253" y="117"/>
              </a:cxn>
              <a:cxn ang="0">
                <a:pos x="255" y="109"/>
              </a:cxn>
              <a:cxn ang="0">
                <a:pos x="260" y="97"/>
              </a:cxn>
              <a:cxn ang="0">
                <a:pos x="264" y="91"/>
              </a:cxn>
              <a:cxn ang="0">
                <a:pos x="267" y="86"/>
              </a:cxn>
              <a:cxn ang="0">
                <a:pos x="269" y="82"/>
              </a:cxn>
              <a:cxn ang="0">
                <a:pos x="272" y="81"/>
              </a:cxn>
              <a:cxn ang="0">
                <a:pos x="312" y="44"/>
              </a:cxn>
              <a:cxn ang="0">
                <a:pos x="312" y="39"/>
              </a:cxn>
              <a:cxn ang="0">
                <a:pos x="310" y="35"/>
              </a:cxn>
              <a:cxn ang="0">
                <a:pos x="306" y="32"/>
              </a:cxn>
              <a:cxn ang="0">
                <a:pos x="302" y="30"/>
              </a:cxn>
              <a:cxn ang="0">
                <a:pos x="291" y="28"/>
              </a:cxn>
              <a:cxn ang="0">
                <a:pos x="280" y="27"/>
              </a:cxn>
              <a:cxn ang="0">
                <a:pos x="268" y="27"/>
              </a:cxn>
              <a:cxn ang="0">
                <a:pos x="259" y="27"/>
              </a:cxn>
              <a:cxn ang="0">
                <a:pos x="256" y="26"/>
              </a:cxn>
              <a:cxn ang="0">
                <a:pos x="253" y="25"/>
              </a:cxn>
              <a:cxn ang="0">
                <a:pos x="252" y="23"/>
              </a:cxn>
              <a:cxn ang="0">
                <a:pos x="253" y="20"/>
              </a:cxn>
              <a:cxn ang="0">
                <a:pos x="232" y="19"/>
              </a:cxn>
              <a:cxn ang="0">
                <a:pos x="216" y="17"/>
              </a:cxn>
              <a:cxn ang="0">
                <a:pos x="202" y="13"/>
              </a:cxn>
              <a:cxn ang="0">
                <a:pos x="189" y="9"/>
              </a:cxn>
              <a:cxn ang="0">
                <a:pos x="177" y="6"/>
              </a:cxn>
              <a:cxn ang="0">
                <a:pos x="163" y="3"/>
              </a:cxn>
              <a:cxn ang="0">
                <a:pos x="146" y="1"/>
              </a:cxn>
              <a:cxn ang="0">
                <a:pos x="126" y="0"/>
              </a:cxn>
              <a:cxn ang="0">
                <a:pos x="110" y="1"/>
              </a:cxn>
              <a:cxn ang="0">
                <a:pos x="74" y="4"/>
              </a:cxn>
              <a:cxn ang="0">
                <a:pos x="53" y="6"/>
              </a:cxn>
              <a:cxn ang="0">
                <a:pos x="34" y="8"/>
              </a:cxn>
              <a:cxn ang="0">
                <a:pos x="18" y="10"/>
              </a:cxn>
              <a:cxn ang="0">
                <a:pos x="7" y="12"/>
              </a:cxn>
              <a:cxn ang="0">
                <a:pos x="9" y="17"/>
              </a:cxn>
              <a:cxn ang="0">
                <a:pos x="11" y="19"/>
              </a:cxn>
              <a:cxn ang="0">
                <a:pos x="13" y="19"/>
              </a:cxn>
              <a:cxn ang="0">
                <a:pos x="15" y="20"/>
              </a:cxn>
              <a:cxn ang="0">
                <a:pos x="18" y="20"/>
              </a:cxn>
              <a:cxn ang="0">
                <a:pos x="19" y="20"/>
              </a:cxn>
              <a:cxn ang="0">
                <a:pos x="20" y="22"/>
              </a:cxn>
              <a:cxn ang="0">
                <a:pos x="20" y="26"/>
              </a:cxn>
              <a:cxn ang="0">
                <a:pos x="20" y="30"/>
              </a:cxn>
              <a:cxn ang="0">
                <a:pos x="19" y="35"/>
              </a:cxn>
              <a:cxn ang="0">
                <a:pos x="18" y="39"/>
              </a:cxn>
              <a:cxn ang="0">
                <a:pos x="15" y="42"/>
              </a:cxn>
              <a:cxn ang="0">
                <a:pos x="12" y="45"/>
              </a:cxn>
              <a:cxn ang="0">
                <a:pos x="9" y="48"/>
              </a:cxn>
              <a:cxn ang="0">
                <a:pos x="4" y="49"/>
              </a:cxn>
              <a:cxn ang="0">
                <a:pos x="0" y="50"/>
              </a:cxn>
              <a:cxn ang="0">
                <a:pos x="74" y="68"/>
              </a:cxn>
              <a:cxn ang="0">
                <a:pos x="87" y="111"/>
              </a:cxn>
              <a:cxn ang="0">
                <a:pos x="166" y="123"/>
              </a:cxn>
              <a:cxn ang="0">
                <a:pos x="192" y="155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2" y="18"/>
              </a:cxn>
              <a:cxn ang="0">
                <a:pos x="1" y="14"/>
              </a:cxn>
              <a:cxn ang="0">
                <a:pos x="2" y="13"/>
              </a:cxn>
              <a:cxn ang="0">
                <a:pos x="3" y="13"/>
              </a:cxn>
              <a:cxn ang="0">
                <a:pos x="6" y="12"/>
              </a:cxn>
              <a:cxn ang="0">
                <a:pos x="13" y="12"/>
              </a:cxn>
              <a:cxn ang="0">
                <a:pos x="46" y="0"/>
              </a:cxn>
              <a:cxn ang="0">
                <a:pos x="46" y="50"/>
              </a:cxn>
              <a:cxn ang="0">
                <a:pos x="40" y="49"/>
              </a:cxn>
              <a:cxn ang="0">
                <a:pos x="33" y="45"/>
              </a:cxn>
              <a:cxn ang="0">
                <a:pos x="25" y="41"/>
              </a:cxn>
              <a:cxn ang="0">
                <a:pos x="17" y="37"/>
              </a:cxn>
              <a:cxn ang="0">
                <a:pos x="5" y="28"/>
              </a:cxn>
              <a:cxn ang="0">
                <a:pos x="0" y="25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/>
            <a:ahLst/>
            <a:cxnLst>
              <a:cxn ang="0">
                <a:pos x="10" y="282"/>
              </a:cxn>
              <a:cxn ang="0">
                <a:pos x="19" y="290"/>
              </a:cxn>
              <a:cxn ang="0">
                <a:pos x="37" y="300"/>
              </a:cxn>
              <a:cxn ang="0">
                <a:pos x="58" y="306"/>
              </a:cxn>
              <a:cxn ang="0">
                <a:pos x="70" y="312"/>
              </a:cxn>
              <a:cxn ang="0">
                <a:pos x="80" y="320"/>
              </a:cxn>
              <a:cxn ang="0">
                <a:pos x="86" y="331"/>
              </a:cxn>
              <a:cxn ang="0">
                <a:pos x="86" y="347"/>
              </a:cxn>
              <a:cxn ang="0">
                <a:pos x="78" y="363"/>
              </a:cxn>
              <a:cxn ang="0">
                <a:pos x="68" y="375"/>
              </a:cxn>
              <a:cxn ang="0">
                <a:pos x="62" y="388"/>
              </a:cxn>
              <a:cxn ang="0">
                <a:pos x="60" y="400"/>
              </a:cxn>
              <a:cxn ang="0">
                <a:pos x="64" y="411"/>
              </a:cxn>
              <a:cxn ang="0">
                <a:pos x="76" y="424"/>
              </a:cxn>
              <a:cxn ang="0">
                <a:pos x="104" y="445"/>
              </a:cxn>
              <a:cxn ang="0">
                <a:pos x="120" y="443"/>
              </a:cxn>
              <a:cxn ang="0">
                <a:pos x="120" y="423"/>
              </a:cxn>
              <a:cxn ang="0">
                <a:pos x="131" y="413"/>
              </a:cxn>
              <a:cxn ang="0">
                <a:pos x="145" y="407"/>
              </a:cxn>
              <a:cxn ang="0">
                <a:pos x="153" y="402"/>
              </a:cxn>
              <a:cxn ang="0">
                <a:pos x="160" y="393"/>
              </a:cxn>
              <a:cxn ang="0">
                <a:pos x="166" y="375"/>
              </a:cxn>
              <a:cxn ang="0">
                <a:pos x="165" y="350"/>
              </a:cxn>
              <a:cxn ang="0">
                <a:pos x="158" y="328"/>
              </a:cxn>
              <a:cxn ang="0">
                <a:pos x="148" y="307"/>
              </a:cxn>
              <a:cxn ang="0">
                <a:pos x="141" y="284"/>
              </a:cxn>
              <a:cxn ang="0">
                <a:pos x="135" y="269"/>
              </a:cxn>
              <a:cxn ang="0">
                <a:pos x="118" y="251"/>
              </a:cxn>
              <a:cxn ang="0">
                <a:pos x="97" y="224"/>
              </a:cxn>
              <a:cxn ang="0">
                <a:pos x="85" y="206"/>
              </a:cxn>
              <a:cxn ang="0">
                <a:pos x="80" y="195"/>
              </a:cxn>
              <a:cxn ang="0">
                <a:pos x="81" y="177"/>
              </a:cxn>
              <a:cxn ang="0">
                <a:pos x="88" y="147"/>
              </a:cxn>
              <a:cxn ang="0">
                <a:pos x="96" y="129"/>
              </a:cxn>
              <a:cxn ang="0">
                <a:pos x="98" y="113"/>
              </a:cxn>
              <a:cxn ang="0">
                <a:pos x="95" y="82"/>
              </a:cxn>
              <a:cxn ang="0">
                <a:pos x="92" y="45"/>
              </a:cxn>
              <a:cxn ang="0">
                <a:pos x="89" y="18"/>
              </a:cxn>
              <a:cxn ang="0">
                <a:pos x="71" y="8"/>
              </a:cxn>
              <a:cxn ang="0">
                <a:pos x="33" y="4"/>
              </a:cxn>
              <a:cxn ang="0">
                <a:pos x="12" y="10"/>
              </a:cxn>
              <a:cxn ang="0">
                <a:pos x="22" y="25"/>
              </a:cxn>
              <a:cxn ang="0">
                <a:pos x="33" y="30"/>
              </a:cxn>
              <a:cxn ang="0">
                <a:pos x="40" y="44"/>
              </a:cxn>
              <a:cxn ang="0">
                <a:pos x="40" y="64"/>
              </a:cxn>
              <a:cxn ang="0">
                <a:pos x="40" y="78"/>
              </a:cxn>
              <a:cxn ang="0">
                <a:pos x="36" y="85"/>
              </a:cxn>
              <a:cxn ang="0">
                <a:pos x="29" y="95"/>
              </a:cxn>
              <a:cxn ang="0">
                <a:pos x="15" y="109"/>
              </a:cxn>
              <a:cxn ang="0">
                <a:pos x="3" y="122"/>
              </a:cxn>
              <a:cxn ang="0">
                <a:pos x="7" y="277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/>
            <a:ahLst/>
            <a:cxnLst>
              <a:cxn ang="0">
                <a:pos x="284" y="8"/>
              </a:cxn>
              <a:cxn ang="0">
                <a:pos x="320" y="27"/>
              </a:cxn>
              <a:cxn ang="0">
                <a:pos x="363" y="47"/>
              </a:cxn>
              <a:cxn ang="0">
                <a:pos x="395" y="58"/>
              </a:cxn>
              <a:cxn ang="0">
                <a:pos x="416" y="61"/>
              </a:cxn>
              <a:cxn ang="0">
                <a:pos x="425" y="81"/>
              </a:cxn>
              <a:cxn ang="0">
                <a:pos x="429" y="120"/>
              </a:cxn>
              <a:cxn ang="0">
                <a:pos x="434" y="157"/>
              </a:cxn>
              <a:cxn ang="0">
                <a:pos x="438" y="195"/>
              </a:cxn>
              <a:cxn ang="0">
                <a:pos x="438" y="223"/>
              </a:cxn>
              <a:cxn ang="0">
                <a:pos x="435" y="237"/>
              </a:cxn>
              <a:cxn ang="0">
                <a:pos x="425" y="259"/>
              </a:cxn>
              <a:cxn ang="0">
                <a:pos x="407" y="287"/>
              </a:cxn>
              <a:cxn ang="0">
                <a:pos x="391" y="307"/>
              </a:cxn>
              <a:cxn ang="0">
                <a:pos x="381" y="320"/>
              </a:cxn>
              <a:cxn ang="0">
                <a:pos x="374" y="332"/>
              </a:cxn>
              <a:cxn ang="0">
                <a:pos x="372" y="352"/>
              </a:cxn>
              <a:cxn ang="0">
                <a:pos x="359" y="372"/>
              </a:cxn>
              <a:cxn ang="0">
                <a:pos x="321" y="401"/>
              </a:cxn>
              <a:cxn ang="0">
                <a:pos x="205" y="388"/>
              </a:cxn>
              <a:cxn ang="0">
                <a:pos x="182" y="379"/>
              </a:cxn>
              <a:cxn ang="0">
                <a:pos x="165" y="370"/>
              </a:cxn>
              <a:cxn ang="0">
                <a:pos x="150" y="359"/>
              </a:cxn>
              <a:cxn ang="0">
                <a:pos x="139" y="346"/>
              </a:cxn>
              <a:cxn ang="0">
                <a:pos x="124" y="322"/>
              </a:cxn>
              <a:cxn ang="0">
                <a:pos x="108" y="296"/>
              </a:cxn>
              <a:cxn ang="0">
                <a:pos x="94" y="279"/>
              </a:cxn>
              <a:cxn ang="0">
                <a:pos x="72" y="259"/>
              </a:cxn>
              <a:cxn ang="0">
                <a:pos x="44" y="234"/>
              </a:cxn>
              <a:cxn ang="0">
                <a:pos x="24" y="213"/>
              </a:cxn>
              <a:cxn ang="0">
                <a:pos x="13" y="195"/>
              </a:cxn>
              <a:cxn ang="0">
                <a:pos x="4" y="176"/>
              </a:cxn>
              <a:cxn ang="0">
                <a:pos x="0" y="154"/>
              </a:cxn>
              <a:cxn ang="0">
                <a:pos x="18" y="141"/>
              </a:cxn>
              <a:cxn ang="0">
                <a:pos x="40" y="141"/>
              </a:cxn>
              <a:cxn ang="0">
                <a:pos x="53" y="141"/>
              </a:cxn>
              <a:cxn ang="0">
                <a:pos x="63" y="138"/>
              </a:cxn>
              <a:cxn ang="0">
                <a:pos x="77" y="131"/>
              </a:cxn>
              <a:cxn ang="0">
                <a:pos x="99" y="108"/>
              </a:cxn>
              <a:cxn ang="0">
                <a:pos x="117" y="87"/>
              </a:cxn>
              <a:cxn ang="0">
                <a:pos x="130" y="80"/>
              </a:cxn>
              <a:cxn ang="0">
                <a:pos x="150" y="71"/>
              </a:cxn>
              <a:cxn ang="0">
                <a:pos x="179" y="60"/>
              </a:cxn>
              <a:cxn ang="0">
                <a:pos x="203" y="50"/>
              </a:cxn>
              <a:cxn ang="0">
                <a:pos x="211" y="43"/>
              </a:cxn>
              <a:cxn ang="0">
                <a:pos x="210" y="38"/>
              </a:cxn>
              <a:cxn ang="0">
                <a:pos x="211" y="30"/>
              </a:cxn>
              <a:cxn ang="0">
                <a:pos x="213" y="17"/>
              </a:cxn>
              <a:cxn ang="0">
                <a:pos x="217" y="12"/>
              </a:cxn>
              <a:cxn ang="0">
                <a:pos x="225" y="12"/>
              </a:cxn>
              <a:cxn ang="0">
                <a:pos x="232" y="9"/>
              </a:cxn>
              <a:cxn ang="0">
                <a:pos x="236" y="4"/>
              </a:cxn>
              <a:cxn ang="0">
                <a:pos x="244" y="2"/>
              </a:cxn>
              <a:cxn ang="0">
                <a:pos x="251" y="3"/>
              </a:cxn>
              <a:cxn ang="0">
                <a:pos x="264" y="1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/>
            <a:ahLst/>
            <a:cxnLst>
              <a:cxn ang="0">
                <a:pos x="513" y="8"/>
              </a:cxn>
              <a:cxn ang="0">
                <a:pos x="552" y="26"/>
              </a:cxn>
              <a:cxn ang="0">
                <a:pos x="645" y="63"/>
              </a:cxn>
              <a:cxn ang="0">
                <a:pos x="660" y="88"/>
              </a:cxn>
              <a:cxn ang="0">
                <a:pos x="678" y="94"/>
              </a:cxn>
              <a:cxn ang="0">
                <a:pos x="678" y="127"/>
              </a:cxn>
              <a:cxn ang="0">
                <a:pos x="677" y="144"/>
              </a:cxn>
              <a:cxn ang="0">
                <a:pos x="667" y="158"/>
              </a:cxn>
              <a:cxn ang="0">
                <a:pos x="647" y="178"/>
              </a:cxn>
              <a:cxn ang="0">
                <a:pos x="638" y="346"/>
              </a:cxn>
              <a:cxn ang="0">
                <a:pos x="461" y="388"/>
              </a:cxn>
              <a:cxn ang="0">
                <a:pos x="461" y="415"/>
              </a:cxn>
              <a:cxn ang="0">
                <a:pos x="455" y="435"/>
              </a:cxn>
              <a:cxn ang="0">
                <a:pos x="444" y="435"/>
              </a:cxn>
              <a:cxn ang="0">
                <a:pos x="434" y="440"/>
              </a:cxn>
              <a:cxn ang="0">
                <a:pos x="425" y="445"/>
              </a:cxn>
              <a:cxn ang="0">
                <a:pos x="414" y="447"/>
              </a:cxn>
              <a:cxn ang="0">
                <a:pos x="411" y="463"/>
              </a:cxn>
              <a:cxn ang="0">
                <a:pos x="410" y="474"/>
              </a:cxn>
              <a:cxn ang="0">
                <a:pos x="403" y="483"/>
              </a:cxn>
              <a:cxn ang="0">
                <a:pos x="365" y="498"/>
              </a:cxn>
              <a:cxn ang="0">
                <a:pos x="330" y="513"/>
              </a:cxn>
              <a:cxn ang="0">
                <a:pos x="313" y="525"/>
              </a:cxn>
              <a:cxn ang="0">
                <a:pos x="277" y="564"/>
              </a:cxn>
              <a:cxn ang="0">
                <a:pos x="258" y="573"/>
              </a:cxn>
              <a:cxn ang="0">
                <a:pos x="238" y="574"/>
              </a:cxn>
              <a:cxn ang="0">
                <a:pos x="193" y="574"/>
              </a:cxn>
              <a:cxn ang="0">
                <a:pos x="186" y="559"/>
              </a:cxn>
              <a:cxn ang="0">
                <a:pos x="165" y="547"/>
              </a:cxn>
              <a:cxn ang="0">
                <a:pos x="133" y="545"/>
              </a:cxn>
              <a:cxn ang="0">
                <a:pos x="93" y="556"/>
              </a:cxn>
              <a:cxn ang="0">
                <a:pos x="33" y="527"/>
              </a:cxn>
              <a:cxn ang="0">
                <a:pos x="0" y="285"/>
              </a:cxn>
              <a:cxn ang="0">
                <a:pos x="73" y="286"/>
              </a:cxn>
              <a:cxn ang="0">
                <a:pos x="103" y="282"/>
              </a:cxn>
              <a:cxn ang="0">
                <a:pos x="119" y="275"/>
              </a:cxn>
              <a:cxn ang="0">
                <a:pos x="129" y="256"/>
              </a:cxn>
              <a:cxn ang="0">
                <a:pos x="131" y="229"/>
              </a:cxn>
              <a:cxn ang="0">
                <a:pos x="126" y="185"/>
              </a:cxn>
              <a:cxn ang="0">
                <a:pos x="130" y="165"/>
              </a:cxn>
              <a:cxn ang="0">
                <a:pos x="140" y="171"/>
              </a:cxn>
              <a:cxn ang="0">
                <a:pos x="174" y="175"/>
              </a:cxn>
              <a:cxn ang="0">
                <a:pos x="188" y="186"/>
              </a:cxn>
              <a:cxn ang="0">
                <a:pos x="195" y="201"/>
              </a:cxn>
              <a:cxn ang="0">
                <a:pos x="208" y="210"/>
              </a:cxn>
              <a:cxn ang="0">
                <a:pos x="241" y="217"/>
              </a:cxn>
              <a:cxn ang="0">
                <a:pos x="269" y="214"/>
              </a:cxn>
              <a:cxn ang="0">
                <a:pos x="301" y="199"/>
              </a:cxn>
              <a:cxn ang="0">
                <a:pos x="319" y="196"/>
              </a:cxn>
              <a:cxn ang="0">
                <a:pos x="331" y="193"/>
              </a:cxn>
              <a:cxn ang="0">
                <a:pos x="343" y="190"/>
              </a:cxn>
              <a:cxn ang="0">
                <a:pos x="357" y="182"/>
              </a:cxn>
              <a:cxn ang="0">
                <a:pos x="368" y="168"/>
              </a:cxn>
              <a:cxn ang="0">
                <a:pos x="383" y="126"/>
              </a:cxn>
              <a:cxn ang="0">
                <a:pos x="403" y="47"/>
              </a:cxn>
              <a:cxn ang="0">
                <a:pos x="414" y="10"/>
              </a:cxn>
              <a:cxn ang="0">
                <a:pos x="431" y="6"/>
              </a:cxn>
              <a:cxn ang="0">
                <a:pos x="453" y="8"/>
              </a:cxn>
              <a:cxn ang="0">
                <a:pos x="482" y="1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/>
            <a:ahLst/>
            <a:cxnLst>
              <a:cxn ang="0">
                <a:pos x="797" y="42"/>
              </a:cxn>
              <a:cxn ang="0">
                <a:pos x="766" y="26"/>
              </a:cxn>
              <a:cxn ang="0">
                <a:pos x="718" y="33"/>
              </a:cxn>
              <a:cxn ang="0">
                <a:pos x="634" y="44"/>
              </a:cxn>
              <a:cxn ang="0">
                <a:pos x="604" y="55"/>
              </a:cxn>
              <a:cxn ang="0">
                <a:pos x="280" y="40"/>
              </a:cxn>
              <a:cxn ang="0">
                <a:pos x="232" y="37"/>
              </a:cxn>
              <a:cxn ang="0">
                <a:pos x="172" y="17"/>
              </a:cxn>
              <a:cxn ang="0">
                <a:pos x="116" y="0"/>
              </a:cxn>
              <a:cxn ang="0">
                <a:pos x="83" y="5"/>
              </a:cxn>
              <a:cxn ang="0">
                <a:pos x="53" y="24"/>
              </a:cxn>
              <a:cxn ang="0">
                <a:pos x="0" y="55"/>
              </a:cxn>
              <a:cxn ang="0">
                <a:pos x="7" y="68"/>
              </a:cxn>
              <a:cxn ang="0">
                <a:pos x="26" y="74"/>
              </a:cxn>
              <a:cxn ang="0">
                <a:pos x="36" y="129"/>
              </a:cxn>
              <a:cxn ang="0">
                <a:pos x="60" y="192"/>
              </a:cxn>
              <a:cxn ang="0">
                <a:pos x="109" y="276"/>
              </a:cxn>
              <a:cxn ang="0">
                <a:pos x="133" y="300"/>
              </a:cxn>
              <a:cxn ang="0">
                <a:pos x="159" y="302"/>
              </a:cxn>
              <a:cxn ang="0">
                <a:pos x="159" y="332"/>
              </a:cxn>
              <a:cxn ang="0">
                <a:pos x="152" y="359"/>
              </a:cxn>
              <a:cxn ang="0">
                <a:pos x="146" y="394"/>
              </a:cxn>
              <a:cxn ang="0">
                <a:pos x="150" y="425"/>
              </a:cxn>
              <a:cxn ang="0">
                <a:pos x="173" y="484"/>
              </a:cxn>
              <a:cxn ang="0">
                <a:pos x="179" y="518"/>
              </a:cxn>
              <a:cxn ang="0">
                <a:pos x="187" y="606"/>
              </a:cxn>
              <a:cxn ang="0">
                <a:pos x="204" y="647"/>
              </a:cxn>
              <a:cxn ang="0">
                <a:pos x="231" y="690"/>
              </a:cxn>
              <a:cxn ang="0">
                <a:pos x="245" y="700"/>
              </a:cxn>
              <a:cxn ang="0">
                <a:pos x="259" y="715"/>
              </a:cxn>
              <a:cxn ang="0">
                <a:pos x="265" y="678"/>
              </a:cxn>
              <a:cxn ang="0">
                <a:pos x="308" y="696"/>
              </a:cxn>
              <a:cxn ang="0">
                <a:pos x="328" y="713"/>
              </a:cxn>
              <a:cxn ang="0">
                <a:pos x="372" y="726"/>
              </a:cxn>
              <a:cxn ang="0">
                <a:pos x="407" y="723"/>
              </a:cxn>
              <a:cxn ang="0">
                <a:pos x="429" y="710"/>
              </a:cxn>
              <a:cxn ang="0">
                <a:pos x="452" y="675"/>
              </a:cxn>
              <a:cxn ang="0">
                <a:pos x="463" y="529"/>
              </a:cxn>
              <a:cxn ang="0">
                <a:pos x="465" y="480"/>
              </a:cxn>
              <a:cxn ang="0">
                <a:pos x="471" y="469"/>
              </a:cxn>
              <a:cxn ang="0">
                <a:pos x="463" y="426"/>
              </a:cxn>
              <a:cxn ang="0">
                <a:pos x="469" y="368"/>
              </a:cxn>
              <a:cxn ang="0">
                <a:pos x="500" y="330"/>
              </a:cxn>
              <a:cxn ang="0">
                <a:pos x="525" y="320"/>
              </a:cxn>
              <a:cxn ang="0">
                <a:pos x="538" y="232"/>
              </a:cxn>
              <a:cxn ang="0">
                <a:pos x="551" y="148"/>
              </a:cxn>
              <a:cxn ang="0">
                <a:pos x="541" y="124"/>
              </a:cxn>
              <a:cxn ang="0">
                <a:pos x="531" y="99"/>
              </a:cxn>
              <a:cxn ang="0">
                <a:pos x="539" y="86"/>
              </a:cxn>
              <a:cxn ang="0">
                <a:pos x="617" y="80"/>
              </a:cxn>
              <a:cxn ang="0">
                <a:pos x="708" y="63"/>
              </a:cxn>
              <a:cxn ang="0">
                <a:pos x="803" y="61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/>
            <a:ahLst/>
            <a:cxnLst>
              <a:cxn ang="0">
                <a:pos x="203" y="250"/>
              </a:cxn>
              <a:cxn ang="0">
                <a:pos x="163" y="246"/>
              </a:cxn>
              <a:cxn ang="0">
                <a:pos x="121" y="247"/>
              </a:cxn>
              <a:cxn ang="0">
                <a:pos x="92" y="250"/>
              </a:cxn>
              <a:cxn ang="0">
                <a:pos x="74" y="255"/>
              </a:cxn>
              <a:cxn ang="0">
                <a:pos x="26" y="271"/>
              </a:cxn>
              <a:cxn ang="0">
                <a:pos x="20" y="270"/>
              </a:cxn>
              <a:cxn ang="0">
                <a:pos x="17" y="266"/>
              </a:cxn>
              <a:cxn ang="0">
                <a:pos x="18" y="254"/>
              </a:cxn>
              <a:cxn ang="0">
                <a:pos x="26" y="228"/>
              </a:cxn>
              <a:cxn ang="0">
                <a:pos x="61" y="226"/>
              </a:cxn>
              <a:cxn ang="0">
                <a:pos x="89" y="222"/>
              </a:cxn>
              <a:cxn ang="0">
                <a:pos x="115" y="218"/>
              </a:cxn>
              <a:cxn ang="0">
                <a:pos x="146" y="216"/>
              </a:cxn>
              <a:cxn ang="0">
                <a:pos x="182" y="218"/>
              </a:cxn>
              <a:cxn ang="0">
                <a:pos x="199" y="218"/>
              </a:cxn>
              <a:cxn ang="0">
                <a:pos x="219" y="216"/>
              </a:cxn>
              <a:cxn ang="0">
                <a:pos x="215" y="208"/>
              </a:cxn>
              <a:cxn ang="0">
                <a:pos x="210" y="201"/>
              </a:cxn>
              <a:cxn ang="0">
                <a:pos x="195" y="194"/>
              </a:cxn>
              <a:cxn ang="0">
                <a:pos x="175" y="191"/>
              </a:cxn>
              <a:cxn ang="0">
                <a:pos x="152" y="190"/>
              </a:cxn>
              <a:cxn ang="0">
                <a:pos x="93" y="192"/>
              </a:cxn>
              <a:cxn ang="0">
                <a:pos x="64" y="196"/>
              </a:cxn>
              <a:cxn ang="0">
                <a:pos x="33" y="203"/>
              </a:cxn>
              <a:cxn ang="0">
                <a:pos x="38" y="183"/>
              </a:cxn>
              <a:cxn ang="0">
                <a:pos x="39" y="172"/>
              </a:cxn>
              <a:cxn ang="0">
                <a:pos x="26" y="164"/>
              </a:cxn>
              <a:cxn ang="0">
                <a:pos x="13" y="160"/>
              </a:cxn>
              <a:cxn ang="0">
                <a:pos x="11" y="147"/>
              </a:cxn>
              <a:cxn ang="0">
                <a:pos x="6" y="143"/>
              </a:cxn>
              <a:cxn ang="0">
                <a:pos x="2" y="141"/>
              </a:cxn>
              <a:cxn ang="0">
                <a:pos x="0" y="135"/>
              </a:cxn>
              <a:cxn ang="0">
                <a:pos x="5" y="115"/>
              </a:cxn>
              <a:cxn ang="0">
                <a:pos x="17" y="92"/>
              </a:cxn>
              <a:cxn ang="0">
                <a:pos x="30" y="69"/>
              </a:cxn>
              <a:cxn ang="0">
                <a:pos x="39" y="49"/>
              </a:cxn>
              <a:cxn ang="0">
                <a:pos x="48" y="42"/>
              </a:cxn>
              <a:cxn ang="0">
                <a:pos x="49" y="48"/>
              </a:cxn>
              <a:cxn ang="0">
                <a:pos x="52" y="36"/>
              </a:cxn>
              <a:cxn ang="0">
                <a:pos x="75" y="31"/>
              </a:cxn>
              <a:cxn ang="0">
                <a:pos x="114" y="18"/>
              </a:cxn>
              <a:cxn ang="0">
                <a:pos x="165" y="0"/>
              </a:cxn>
              <a:cxn ang="0">
                <a:pos x="184" y="15"/>
              </a:cxn>
              <a:cxn ang="0">
                <a:pos x="202" y="24"/>
              </a:cxn>
              <a:cxn ang="0">
                <a:pos x="220" y="29"/>
              </a:cxn>
              <a:cxn ang="0">
                <a:pos x="239" y="30"/>
              </a:cxn>
              <a:cxn ang="0">
                <a:pos x="241" y="52"/>
              </a:cxn>
              <a:cxn ang="0">
                <a:pos x="247" y="69"/>
              </a:cxn>
              <a:cxn ang="0">
                <a:pos x="254" y="84"/>
              </a:cxn>
              <a:cxn ang="0">
                <a:pos x="264" y="95"/>
              </a:cxn>
              <a:cxn ang="0">
                <a:pos x="305" y="129"/>
              </a:cxn>
              <a:cxn ang="0">
                <a:pos x="352" y="234"/>
              </a:cxn>
              <a:cxn ang="0">
                <a:pos x="359" y="257"/>
              </a:cxn>
              <a:cxn ang="0">
                <a:pos x="365" y="271"/>
              </a:cxn>
              <a:cxn ang="0">
                <a:pos x="321" y="259"/>
              </a:cxn>
              <a:cxn ang="0">
                <a:pos x="275" y="252"/>
              </a:cxn>
              <a:cxn ang="0">
                <a:pos x="248" y="251"/>
              </a:cxn>
              <a:cxn ang="0">
                <a:pos x="219" y="252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/>
            <a:ahLst/>
            <a:cxnLst>
              <a:cxn ang="0">
                <a:pos x="146" y="12"/>
              </a:cxn>
              <a:cxn ang="0">
                <a:pos x="239" y="12"/>
              </a:cxn>
              <a:cxn ang="0">
                <a:pos x="287" y="5"/>
              </a:cxn>
              <a:cxn ang="0">
                <a:pos x="326" y="22"/>
              </a:cxn>
              <a:cxn ang="0">
                <a:pos x="396" y="66"/>
              </a:cxn>
              <a:cxn ang="0">
                <a:pos x="465" y="111"/>
              </a:cxn>
              <a:cxn ang="0">
                <a:pos x="469" y="131"/>
              </a:cxn>
              <a:cxn ang="0">
                <a:pos x="480" y="153"/>
              </a:cxn>
              <a:cxn ang="0">
                <a:pos x="497" y="170"/>
              </a:cxn>
              <a:cxn ang="0">
                <a:pos x="519" y="183"/>
              </a:cxn>
              <a:cxn ang="0">
                <a:pos x="543" y="190"/>
              </a:cxn>
              <a:cxn ang="0">
                <a:pos x="554" y="195"/>
              </a:cxn>
              <a:cxn ang="0">
                <a:pos x="565" y="205"/>
              </a:cxn>
              <a:cxn ang="0">
                <a:pos x="561" y="227"/>
              </a:cxn>
              <a:cxn ang="0">
                <a:pos x="537" y="252"/>
              </a:cxn>
              <a:cxn ang="0">
                <a:pos x="525" y="271"/>
              </a:cxn>
              <a:cxn ang="0">
                <a:pos x="533" y="287"/>
              </a:cxn>
              <a:cxn ang="0">
                <a:pos x="547" y="299"/>
              </a:cxn>
              <a:cxn ang="0">
                <a:pos x="552" y="425"/>
              </a:cxn>
              <a:cxn ang="0">
                <a:pos x="550" y="439"/>
              </a:cxn>
              <a:cxn ang="0">
                <a:pos x="558" y="462"/>
              </a:cxn>
              <a:cxn ang="0">
                <a:pos x="558" y="489"/>
              </a:cxn>
              <a:cxn ang="0">
                <a:pos x="561" y="515"/>
              </a:cxn>
              <a:cxn ang="0">
                <a:pos x="594" y="549"/>
              </a:cxn>
              <a:cxn ang="0">
                <a:pos x="616" y="579"/>
              </a:cxn>
              <a:cxn ang="0">
                <a:pos x="575" y="600"/>
              </a:cxn>
              <a:cxn ang="0">
                <a:pos x="491" y="631"/>
              </a:cxn>
              <a:cxn ang="0">
                <a:pos x="443" y="638"/>
              </a:cxn>
              <a:cxn ang="0">
                <a:pos x="392" y="628"/>
              </a:cxn>
              <a:cxn ang="0">
                <a:pos x="339" y="633"/>
              </a:cxn>
              <a:cxn ang="0">
                <a:pos x="306" y="628"/>
              </a:cxn>
              <a:cxn ang="0">
                <a:pos x="299" y="614"/>
              </a:cxn>
              <a:cxn ang="0">
                <a:pos x="294" y="573"/>
              </a:cxn>
              <a:cxn ang="0">
                <a:pos x="288" y="529"/>
              </a:cxn>
              <a:cxn ang="0">
                <a:pos x="253" y="517"/>
              </a:cxn>
              <a:cxn ang="0">
                <a:pos x="185" y="502"/>
              </a:cxn>
              <a:cxn ang="0">
                <a:pos x="90" y="459"/>
              </a:cxn>
              <a:cxn ang="0">
                <a:pos x="68" y="446"/>
              </a:cxn>
              <a:cxn ang="0">
                <a:pos x="66" y="428"/>
              </a:cxn>
              <a:cxn ang="0">
                <a:pos x="65" y="402"/>
              </a:cxn>
              <a:cxn ang="0">
                <a:pos x="53" y="377"/>
              </a:cxn>
              <a:cxn ang="0">
                <a:pos x="41" y="357"/>
              </a:cxn>
              <a:cxn ang="0">
                <a:pos x="27" y="347"/>
              </a:cxn>
              <a:cxn ang="0">
                <a:pos x="12" y="332"/>
              </a:cxn>
              <a:cxn ang="0">
                <a:pos x="5" y="308"/>
              </a:cxn>
              <a:cxn ang="0">
                <a:pos x="0" y="262"/>
              </a:cxn>
              <a:cxn ang="0">
                <a:pos x="0" y="234"/>
              </a:cxn>
              <a:cxn ang="0">
                <a:pos x="10" y="212"/>
              </a:cxn>
              <a:cxn ang="0">
                <a:pos x="38" y="195"/>
              </a:cxn>
              <a:cxn ang="0">
                <a:pos x="61" y="173"/>
              </a:cxn>
              <a:cxn ang="0">
                <a:pos x="77" y="77"/>
              </a:cxn>
              <a:cxn ang="0">
                <a:pos x="84" y="43"/>
              </a:cxn>
              <a:cxn ang="0">
                <a:pos x="82" y="8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/>
            <a:ahLst/>
            <a:cxnLst>
              <a:cxn ang="0">
                <a:pos x="13" y="50"/>
              </a:cxn>
              <a:cxn ang="0">
                <a:pos x="0" y="32"/>
              </a:cxn>
              <a:cxn ang="0">
                <a:pos x="2" y="25"/>
              </a:cxn>
              <a:cxn ang="0">
                <a:pos x="6" y="18"/>
              </a:cxn>
              <a:cxn ang="0">
                <a:pos x="12" y="13"/>
              </a:cxn>
              <a:cxn ang="0">
                <a:pos x="18" y="9"/>
              </a:cxn>
              <a:cxn ang="0">
                <a:pos x="26" y="5"/>
              </a:cxn>
              <a:cxn ang="0">
                <a:pos x="34" y="3"/>
              </a:cxn>
              <a:cxn ang="0">
                <a:pos x="43" y="1"/>
              </a:cxn>
              <a:cxn ang="0">
                <a:pos x="52" y="0"/>
              </a:cxn>
              <a:cxn ang="0">
                <a:pos x="40" y="11"/>
              </a:cxn>
              <a:cxn ang="0">
                <a:pos x="27" y="22"/>
              </a:cxn>
              <a:cxn ang="0">
                <a:pos x="22" y="30"/>
              </a:cxn>
              <a:cxn ang="0">
                <a:pos x="17" y="36"/>
              </a:cxn>
              <a:cxn ang="0">
                <a:pos x="14" y="43"/>
              </a:cxn>
              <a:cxn ang="0">
                <a:pos x="13" y="50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/>
            <a:ahLst/>
            <a:cxnLst>
              <a:cxn ang="0">
                <a:pos x="76" y="231"/>
              </a:cxn>
              <a:cxn ang="0">
                <a:pos x="61" y="226"/>
              </a:cxn>
              <a:cxn ang="0">
                <a:pos x="66" y="222"/>
              </a:cxn>
              <a:cxn ang="0">
                <a:pos x="77" y="217"/>
              </a:cxn>
              <a:cxn ang="0">
                <a:pos x="64" y="204"/>
              </a:cxn>
              <a:cxn ang="0">
                <a:pos x="43" y="189"/>
              </a:cxn>
              <a:cxn ang="0">
                <a:pos x="36" y="179"/>
              </a:cxn>
              <a:cxn ang="0">
                <a:pos x="34" y="171"/>
              </a:cxn>
              <a:cxn ang="0">
                <a:pos x="34" y="164"/>
              </a:cxn>
              <a:cxn ang="0">
                <a:pos x="36" y="157"/>
              </a:cxn>
              <a:cxn ang="0">
                <a:pos x="43" y="149"/>
              </a:cxn>
              <a:cxn ang="0">
                <a:pos x="56" y="141"/>
              </a:cxn>
              <a:cxn ang="0">
                <a:pos x="73" y="137"/>
              </a:cxn>
              <a:cxn ang="0">
                <a:pos x="80" y="126"/>
              </a:cxn>
              <a:cxn ang="0">
                <a:pos x="67" y="111"/>
              </a:cxn>
              <a:cxn ang="0">
                <a:pos x="61" y="102"/>
              </a:cxn>
              <a:cxn ang="0">
                <a:pos x="60" y="86"/>
              </a:cxn>
              <a:cxn ang="0">
                <a:pos x="55" y="70"/>
              </a:cxn>
              <a:cxn ang="0">
                <a:pos x="46" y="46"/>
              </a:cxn>
              <a:cxn ang="0">
                <a:pos x="33" y="31"/>
              </a:cxn>
              <a:cxn ang="0">
                <a:pos x="20" y="25"/>
              </a:cxn>
              <a:cxn ang="0">
                <a:pos x="7" y="10"/>
              </a:cxn>
              <a:cxn ang="0">
                <a:pos x="9" y="0"/>
              </a:cxn>
              <a:cxn ang="0">
                <a:pos x="24" y="0"/>
              </a:cxn>
              <a:cxn ang="0">
                <a:pos x="38" y="3"/>
              </a:cxn>
              <a:cxn ang="0">
                <a:pos x="56" y="16"/>
              </a:cxn>
              <a:cxn ang="0">
                <a:pos x="78" y="35"/>
              </a:cxn>
              <a:cxn ang="0">
                <a:pos x="96" y="48"/>
              </a:cxn>
              <a:cxn ang="0">
                <a:pos x="119" y="58"/>
              </a:cxn>
              <a:cxn ang="0">
                <a:pos x="152" y="70"/>
              </a:cxn>
              <a:cxn ang="0">
                <a:pos x="181" y="79"/>
              </a:cxn>
              <a:cxn ang="0">
                <a:pos x="214" y="85"/>
              </a:cxn>
              <a:cxn ang="0">
                <a:pos x="236" y="77"/>
              </a:cxn>
              <a:cxn ang="0">
                <a:pos x="257" y="83"/>
              </a:cxn>
              <a:cxn ang="0">
                <a:pos x="284" y="107"/>
              </a:cxn>
              <a:cxn ang="0">
                <a:pos x="305" y="119"/>
              </a:cxn>
              <a:cxn ang="0">
                <a:pos x="297" y="133"/>
              </a:cxn>
              <a:cxn ang="0">
                <a:pos x="268" y="144"/>
              </a:cxn>
              <a:cxn ang="0">
                <a:pos x="249" y="148"/>
              </a:cxn>
              <a:cxn ang="0">
                <a:pos x="237" y="159"/>
              </a:cxn>
              <a:cxn ang="0">
                <a:pos x="232" y="176"/>
              </a:cxn>
              <a:cxn ang="0">
                <a:pos x="231" y="187"/>
              </a:cxn>
              <a:cxn ang="0">
                <a:pos x="222" y="192"/>
              </a:cxn>
              <a:cxn ang="0">
                <a:pos x="204" y="189"/>
              </a:cxn>
              <a:cxn ang="0">
                <a:pos x="186" y="181"/>
              </a:cxn>
              <a:cxn ang="0">
                <a:pos x="168" y="170"/>
              </a:cxn>
              <a:cxn ang="0">
                <a:pos x="155" y="164"/>
              </a:cxn>
              <a:cxn ang="0">
                <a:pos x="145" y="161"/>
              </a:cxn>
              <a:cxn ang="0">
                <a:pos x="131" y="162"/>
              </a:cxn>
              <a:cxn ang="0">
                <a:pos x="114" y="167"/>
              </a:cxn>
              <a:cxn ang="0">
                <a:pos x="100" y="173"/>
              </a:cxn>
              <a:cxn ang="0">
                <a:pos x="87" y="178"/>
              </a:cxn>
              <a:cxn ang="0">
                <a:pos x="85" y="183"/>
              </a:cxn>
              <a:cxn ang="0">
                <a:pos x="96" y="191"/>
              </a:cxn>
              <a:cxn ang="0">
                <a:pos x="116" y="200"/>
              </a:cxn>
              <a:cxn ang="0">
                <a:pos x="126" y="212"/>
              </a:cxn>
              <a:cxn ang="0">
                <a:pos x="113" y="224"/>
              </a:cxn>
              <a:cxn ang="0">
                <a:pos x="102" y="231"/>
              </a:cxn>
              <a:cxn ang="0">
                <a:pos x="91" y="234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/>
            <a:ahLst/>
            <a:cxnLst>
              <a:cxn ang="0">
                <a:pos x="33" y="19"/>
              </a:cxn>
              <a:cxn ang="0">
                <a:pos x="43" y="19"/>
              </a:cxn>
              <a:cxn ang="0">
                <a:pos x="52" y="19"/>
              </a:cxn>
              <a:cxn ang="0">
                <a:pos x="55" y="19"/>
              </a:cxn>
              <a:cxn ang="0">
                <a:pos x="58" y="17"/>
              </a:cxn>
              <a:cxn ang="0">
                <a:pos x="61" y="15"/>
              </a:cxn>
              <a:cxn ang="0">
                <a:pos x="65" y="11"/>
              </a:cxn>
              <a:cxn ang="0">
                <a:pos x="68" y="8"/>
              </a:cxn>
              <a:cxn ang="0">
                <a:pos x="70" y="5"/>
              </a:cxn>
              <a:cxn ang="0">
                <a:pos x="72" y="3"/>
              </a:cxn>
              <a:cxn ang="0">
                <a:pos x="72" y="0"/>
              </a:cxn>
              <a:cxn ang="0">
                <a:pos x="118" y="0"/>
              </a:cxn>
              <a:cxn ang="0">
                <a:pos x="122" y="15"/>
              </a:cxn>
              <a:cxn ang="0">
                <a:pos x="125" y="25"/>
              </a:cxn>
              <a:cxn ang="0">
                <a:pos x="124" y="29"/>
              </a:cxn>
              <a:cxn ang="0">
                <a:pos x="122" y="33"/>
              </a:cxn>
              <a:cxn ang="0">
                <a:pos x="119" y="35"/>
              </a:cxn>
              <a:cxn ang="0">
                <a:pos x="117" y="37"/>
              </a:cxn>
              <a:cxn ang="0">
                <a:pos x="111" y="40"/>
              </a:cxn>
              <a:cxn ang="0">
                <a:pos x="104" y="41"/>
              </a:cxn>
              <a:cxn ang="0">
                <a:pos x="88" y="41"/>
              </a:cxn>
              <a:cxn ang="0">
                <a:pos x="72" y="43"/>
              </a:cxn>
              <a:cxn ang="0">
                <a:pos x="70" y="47"/>
              </a:cxn>
              <a:cxn ang="0">
                <a:pos x="69" y="53"/>
              </a:cxn>
              <a:cxn ang="0">
                <a:pos x="67" y="61"/>
              </a:cxn>
              <a:cxn ang="0">
                <a:pos x="67" y="71"/>
              </a:cxn>
              <a:cxn ang="0">
                <a:pos x="66" y="86"/>
              </a:cxn>
              <a:cxn ang="0">
                <a:pos x="66" y="93"/>
              </a:cxn>
              <a:cxn ang="0">
                <a:pos x="49" y="85"/>
              </a:cxn>
              <a:cxn ang="0">
                <a:pos x="27" y="73"/>
              </a:cxn>
              <a:cxn ang="0">
                <a:pos x="16" y="65"/>
              </a:cxn>
              <a:cxn ang="0">
                <a:pos x="7" y="58"/>
              </a:cxn>
              <a:cxn ang="0">
                <a:pos x="4" y="54"/>
              </a:cxn>
              <a:cxn ang="0">
                <a:pos x="2" y="50"/>
              </a:cxn>
              <a:cxn ang="0">
                <a:pos x="0" y="47"/>
              </a:cxn>
              <a:cxn ang="0">
                <a:pos x="0" y="43"/>
              </a:cxn>
              <a:cxn ang="0">
                <a:pos x="7" y="43"/>
              </a:cxn>
              <a:cxn ang="0">
                <a:pos x="15" y="41"/>
              </a:cxn>
              <a:cxn ang="0">
                <a:pos x="20" y="39"/>
              </a:cxn>
              <a:cxn ang="0">
                <a:pos x="23" y="36"/>
              </a:cxn>
              <a:cxn ang="0">
                <a:pos x="28" y="28"/>
              </a:cxn>
              <a:cxn ang="0">
                <a:pos x="33" y="19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4" y="10"/>
              </a:cxn>
              <a:cxn ang="0">
                <a:pos x="31" y="6"/>
              </a:cxn>
              <a:cxn ang="0">
                <a:pos x="34" y="4"/>
              </a:cxn>
              <a:cxn ang="0">
                <a:pos x="37" y="2"/>
              </a:cxn>
              <a:cxn ang="0">
                <a:pos x="42" y="1"/>
              </a:cxn>
              <a:cxn ang="0">
                <a:pos x="46" y="0"/>
              </a:cxn>
              <a:cxn ang="0">
                <a:pos x="59" y="1"/>
              </a:cxn>
              <a:cxn ang="0">
                <a:pos x="70" y="4"/>
              </a:cxn>
              <a:cxn ang="0">
                <a:pos x="81" y="8"/>
              </a:cxn>
              <a:cxn ang="0">
                <a:pos x="90" y="14"/>
              </a:cxn>
              <a:cxn ang="0">
                <a:pos x="99" y="21"/>
              </a:cxn>
              <a:cxn ang="0">
                <a:pos x="105" y="30"/>
              </a:cxn>
              <a:cxn ang="0">
                <a:pos x="112" y="40"/>
              </a:cxn>
              <a:cxn ang="0">
                <a:pos x="116" y="50"/>
              </a:cxn>
              <a:cxn ang="0">
                <a:pos x="121" y="60"/>
              </a:cxn>
              <a:cxn ang="0">
                <a:pos x="124" y="71"/>
              </a:cxn>
              <a:cxn ang="0">
                <a:pos x="127" y="82"/>
              </a:cxn>
              <a:cxn ang="0">
                <a:pos x="130" y="94"/>
              </a:cxn>
              <a:cxn ang="0">
                <a:pos x="132" y="116"/>
              </a:cxn>
              <a:cxn ang="0">
                <a:pos x="133" y="135"/>
              </a:cxn>
              <a:cxn ang="0">
                <a:pos x="132" y="138"/>
              </a:cxn>
              <a:cxn ang="0">
                <a:pos x="130" y="141"/>
              </a:cxn>
              <a:cxn ang="0">
                <a:pos x="125" y="144"/>
              </a:cxn>
              <a:cxn ang="0">
                <a:pos x="121" y="147"/>
              </a:cxn>
              <a:cxn ang="0">
                <a:pos x="115" y="150"/>
              </a:cxn>
              <a:cxn ang="0">
                <a:pos x="110" y="153"/>
              </a:cxn>
              <a:cxn ang="0">
                <a:pos x="104" y="154"/>
              </a:cxn>
              <a:cxn ang="0">
                <a:pos x="99" y="154"/>
              </a:cxn>
              <a:cxn ang="0">
                <a:pos x="93" y="153"/>
              </a:cxn>
              <a:cxn ang="0">
                <a:pos x="87" y="149"/>
              </a:cxn>
              <a:cxn ang="0">
                <a:pos x="79" y="141"/>
              </a:cxn>
              <a:cxn ang="0">
                <a:pos x="71" y="134"/>
              </a:cxn>
              <a:cxn ang="0">
                <a:pos x="64" y="126"/>
              </a:cxn>
              <a:cxn ang="0">
                <a:pos x="58" y="118"/>
              </a:cxn>
              <a:cxn ang="0">
                <a:pos x="54" y="111"/>
              </a:cxn>
              <a:cxn ang="0">
                <a:pos x="53" y="105"/>
              </a:cxn>
              <a:cxn ang="0">
                <a:pos x="54" y="98"/>
              </a:cxn>
              <a:cxn ang="0">
                <a:pos x="56" y="83"/>
              </a:cxn>
              <a:cxn ang="0">
                <a:pos x="58" y="68"/>
              </a:cxn>
              <a:cxn ang="0">
                <a:pos x="59" y="62"/>
              </a:cxn>
              <a:cxn ang="0">
                <a:pos x="47" y="61"/>
              </a:cxn>
              <a:cxn ang="0">
                <a:pos x="36" y="59"/>
              </a:cxn>
              <a:cxn ang="0">
                <a:pos x="25" y="56"/>
              </a:cxn>
              <a:cxn ang="0">
                <a:pos x="17" y="52"/>
              </a:cxn>
              <a:cxn ang="0">
                <a:pos x="13" y="49"/>
              </a:cxn>
              <a:cxn ang="0">
                <a:pos x="10" y="46"/>
              </a:cxn>
              <a:cxn ang="0">
                <a:pos x="7" y="43"/>
              </a:cxn>
              <a:cxn ang="0">
                <a:pos x="4" y="39"/>
              </a:cxn>
              <a:cxn ang="0">
                <a:pos x="2" y="34"/>
              </a:cxn>
              <a:cxn ang="0">
                <a:pos x="1" y="29"/>
              </a:cxn>
              <a:cxn ang="0">
                <a:pos x="0" y="24"/>
              </a:cxn>
              <a:cxn ang="0">
                <a:pos x="0" y="18"/>
              </a:cxn>
              <a:cxn ang="0">
                <a:pos x="7" y="15"/>
              </a:cxn>
              <a:cxn ang="0">
                <a:pos x="20" y="12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/>
            <a:ahLst/>
            <a:cxnLst>
              <a:cxn ang="0">
                <a:pos x="134" y="351"/>
              </a:cxn>
              <a:cxn ang="0">
                <a:pos x="167" y="339"/>
              </a:cxn>
              <a:cxn ang="0">
                <a:pos x="200" y="339"/>
              </a:cxn>
              <a:cxn ang="0">
                <a:pos x="226" y="348"/>
              </a:cxn>
              <a:cxn ang="0">
                <a:pos x="224" y="327"/>
              </a:cxn>
              <a:cxn ang="0">
                <a:pos x="220" y="316"/>
              </a:cxn>
              <a:cxn ang="0">
                <a:pos x="233" y="303"/>
              </a:cxn>
              <a:cxn ang="0">
                <a:pos x="239" y="276"/>
              </a:cxn>
              <a:cxn ang="0">
                <a:pos x="242" y="246"/>
              </a:cxn>
              <a:cxn ang="0">
                <a:pos x="268" y="255"/>
              </a:cxn>
              <a:cxn ang="0">
                <a:pos x="300" y="238"/>
              </a:cxn>
              <a:cxn ang="0">
                <a:pos x="316" y="217"/>
              </a:cxn>
              <a:cxn ang="0">
                <a:pos x="293" y="194"/>
              </a:cxn>
              <a:cxn ang="0">
                <a:pos x="318" y="199"/>
              </a:cxn>
              <a:cxn ang="0">
                <a:pos x="343" y="202"/>
              </a:cxn>
              <a:cxn ang="0">
                <a:pos x="346" y="185"/>
              </a:cxn>
              <a:cxn ang="0">
                <a:pos x="295" y="96"/>
              </a:cxn>
              <a:cxn ang="0">
                <a:pos x="285" y="53"/>
              </a:cxn>
              <a:cxn ang="0">
                <a:pos x="291" y="19"/>
              </a:cxn>
              <a:cxn ang="0">
                <a:pos x="316" y="1"/>
              </a:cxn>
              <a:cxn ang="0">
                <a:pos x="336" y="18"/>
              </a:cxn>
              <a:cxn ang="0">
                <a:pos x="377" y="45"/>
              </a:cxn>
              <a:cxn ang="0">
                <a:pos x="415" y="72"/>
              </a:cxn>
              <a:cxn ang="0">
                <a:pos x="426" y="98"/>
              </a:cxn>
              <a:cxn ang="0">
                <a:pos x="436" y="137"/>
              </a:cxn>
              <a:cxn ang="0">
                <a:pos x="445" y="173"/>
              </a:cxn>
              <a:cxn ang="0">
                <a:pos x="428" y="179"/>
              </a:cxn>
              <a:cxn ang="0">
                <a:pos x="412" y="185"/>
              </a:cxn>
              <a:cxn ang="0">
                <a:pos x="426" y="199"/>
              </a:cxn>
              <a:cxn ang="0">
                <a:pos x="445" y="203"/>
              </a:cxn>
              <a:cxn ang="0">
                <a:pos x="455" y="262"/>
              </a:cxn>
              <a:cxn ang="0">
                <a:pos x="475" y="312"/>
              </a:cxn>
              <a:cxn ang="0">
                <a:pos x="480" y="381"/>
              </a:cxn>
              <a:cxn ang="0">
                <a:pos x="463" y="364"/>
              </a:cxn>
              <a:cxn ang="0">
                <a:pos x="453" y="356"/>
              </a:cxn>
              <a:cxn ang="0">
                <a:pos x="436" y="363"/>
              </a:cxn>
              <a:cxn ang="0">
                <a:pos x="429" y="399"/>
              </a:cxn>
              <a:cxn ang="0">
                <a:pos x="408" y="389"/>
              </a:cxn>
              <a:cxn ang="0">
                <a:pos x="389" y="382"/>
              </a:cxn>
              <a:cxn ang="0">
                <a:pos x="376" y="402"/>
              </a:cxn>
              <a:cxn ang="0">
                <a:pos x="345" y="413"/>
              </a:cxn>
              <a:cxn ang="0">
                <a:pos x="334" y="400"/>
              </a:cxn>
              <a:cxn ang="0">
                <a:pos x="312" y="395"/>
              </a:cxn>
              <a:cxn ang="0">
                <a:pos x="303" y="426"/>
              </a:cxn>
              <a:cxn ang="0">
                <a:pos x="299" y="450"/>
              </a:cxn>
              <a:cxn ang="0">
                <a:pos x="307" y="466"/>
              </a:cxn>
              <a:cxn ang="0">
                <a:pos x="272" y="468"/>
              </a:cxn>
              <a:cxn ang="0">
                <a:pos x="258" y="465"/>
              </a:cxn>
              <a:cxn ang="0">
                <a:pos x="244" y="440"/>
              </a:cxn>
              <a:cxn ang="0">
                <a:pos x="229" y="418"/>
              </a:cxn>
              <a:cxn ang="0">
                <a:pos x="204" y="406"/>
              </a:cxn>
              <a:cxn ang="0">
                <a:pos x="190" y="394"/>
              </a:cxn>
              <a:cxn ang="0">
                <a:pos x="136" y="417"/>
              </a:cxn>
              <a:cxn ang="0">
                <a:pos x="90" y="435"/>
              </a:cxn>
              <a:cxn ang="0">
                <a:pos x="65" y="459"/>
              </a:cxn>
              <a:cxn ang="0">
                <a:pos x="27" y="461"/>
              </a:cxn>
              <a:cxn ang="0">
                <a:pos x="7" y="438"/>
              </a:cxn>
              <a:cxn ang="0">
                <a:pos x="0" y="417"/>
              </a:cxn>
              <a:cxn ang="0">
                <a:pos x="7" y="413"/>
              </a:cxn>
              <a:cxn ang="0">
                <a:pos x="27" y="414"/>
              </a:cxn>
              <a:cxn ang="0">
                <a:pos x="48" y="405"/>
              </a:cxn>
              <a:cxn ang="0">
                <a:pos x="72" y="369"/>
              </a:cxn>
              <a:cxn ang="0">
                <a:pos x="93" y="352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/>
            <a:ahLst/>
            <a:cxnLst>
              <a:cxn ang="0">
                <a:pos x="93" y="0"/>
              </a:cxn>
              <a:cxn ang="0">
                <a:pos x="97" y="7"/>
              </a:cxn>
              <a:cxn ang="0">
                <a:pos x="100" y="18"/>
              </a:cxn>
              <a:cxn ang="0">
                <a:pos x="92" y="24"/>
              </a:cxn>
              <a:cxn ang="0">
                <a:pos x="86" y="29"/>
              </a:cxn>
              <a:cxn ang="0">
                <a:pos x="79" y="34"/>
              </a:cxn>
              <a:cxn ang="0">
                <a:pos x="72" y="37"/>
              </a:cxn>
              <a:cxn ang="0">
                <a:pos x="65" y="39"/>
              </a:cxn>
              <a:cxn ang="0">
                <a:pos x="57" y="41"/>
              </a:cxn>
              <a:cxn ang="0">
                <a:pos x="49" y="42"/>
              </a:cxn>
              <a:cxn ang="0">
                <a:pos x="40" y="42"/>
              </a:cxn>
              <a:cxn ang="0">
                <a:pos x="27" y="41"/>
              </a:cxn>
              <a:cxn ang="0">
                <a:pos x="12" y="39"/>
              </a:cxn>
              <a:cxn ang="0">
                <a:pos x="1" y="37"/>
              </a:cxn>
              <a:cxn ang="0">
                <a:pos x="0" y="36"/>
              </a:cxn>
              <a:cxn ang="0">
                <a:pos x="6" y="36"/>
              </a:cxn>
              <a:cxn ang="0">
                <a:pos x="12" y="35"/>
              </a:cxn>
              <a:cxn ang="0">
                <a:pos x="18" y="33"/>
              </a:cxn>
              <a:cxn ang="0">
                <a:pos x="23" y="30"/>
              </a:cxn>
              <a:cxn ang="0">
                <a:pos x="33" y="25"/>
              </a:cxn>
              <a:cxn ang="0">
                <a:pos x="44" y="18"/>
              </a:cxn>
              <a:cxn ang="0">
                <a:pos x="55" y="11"/>
              </a:cxn>
              <a:cxn ang="0">
                <a:pos x="66" y="5"/>
              </a:cxn>
              <a:cxn ang="0">
                <a:pos x="72" y="3"/>
              </a:cxn>
              <a:cxn ang="0">
                <a:pos x="79" y="1"/>
              </a:cxn>
              <a:cxn ang="0">
                <a:pos x="86" y="0"/>
              </a:cxn>
              <a:cxn ang="0">
                <a:pos x="93" y="0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0" y="5"/>
              </a:cxn>
              <a:cxn ang="0">
                <a:pos x="5" y="3"/>
              </a:cxn>
              <a:cxn ang="0">
                <a:pos x="9" y="1"/>
              </a:cxn>
              <a:cxn ang="0">
                <a:pos x="15" y="0"/>
              </a:cxn>
              <a:cxn ang="0">
                <a:pos x="20" y="0"/>
              </a:cxn>
              <a:cxn ang="0">
                <a:pos x="25" y="0"/>
              </a:cxn>
              <a:cxn ang="0">
                <a:pos x="30" y="1"/>
              </a:cxn>
              <a:cxn ang="0">
                <a:pos x="35" y="3"/>
              </a:cxn>
              <a:cxn ang="0">
                <a:pos x="40" y="5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0" y="0"/>
              </a:cxn>
              <a:cxn ang="0">
                <a:pos x="20" y="4"/>
              </a:cxn>
              <a:cxn ang="0">
                <a:pos x="22" y="10"/>
              </a:cxn>
              <a:cxn ang="0">
                <a:pos x="25" y="14"/>
              </a:cxn>
              <a:cxn ang="0">
                <a:pos x="27" y="18"/>
              </a:cxn>
              <a:cxn ang="0">
                <a:pos x="31" y="26"/>
              </a:cxn>
              <a:cxn ang="0">
                <a:pos x="33" y="31"/>
              </a:cxn>
              <a:cxn ang="0">
                <a:pos x="0" y="31"/>
              </a:cxn>
              <a:cxn ang="0">
                <a:pos x="0" y="25"/>
              </a:cxn>
              <a:cxn ang="0">
                <a:pos x="0" y="19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41" y="43"/>
              </a:cxn>
              <a:cxn ang="0">
                <a:pos x="31" y="42"/>
              </a:cxn>
              <a:cxn ang="0">
                <a:pos x="24" y="40"/>
              </a:cxn>
              <a:cxn ang="0">
                <a:pos x="18" y="37"/>
              </a:cxn>
              <a:cxn ang="0">
                <a:pos x="13" y="33"/>
              </a:cxn>
              <a:cxn ang="0">
                <a:pos x="5" y="25"/>
              </a:cxn>
              <a:cxn ang="0">
                <a:pos x="0" y="19"/>
              </a:cxn>
              <a:cxn ang="0">
                <a:pos x="12" y="13"/>
              </a:cxn>
              <a:cxn ang="0">
                <a:pos x="25" y="7"/>
              </a:cxn>
              <a:cxn ang="0">
                <a:pos x="36" y="2"/>
              </a:cxn>
              <a:cxn ang="0">
                <a:pos x="41" y="0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83" y="0"/>
              </a:cxn>
              <a:cxn ang="0">
                <a:pos x="105" y="1"/>
              </a:cxn>
              <a:cxn ang="0">
                <a:pos x="127" y="3"/>
              </a:cxn>
              <a:cxn ang="0">
                <a:pos x="146" y="7"/>
              </a:cxn>
              <a:cxn ang="0">
                <a:pos x="166" y="11"/>
              </a:cxn>
              <a:cxn ang="0">
                <a:pos x="184" y="16"/>
              </a:cxn>
              <a:cxn ang="0">
                <a:pos x="191" y="19"/>
              </a:cxn>
              <a:cxn ang="0">
                <a:pos x="199" y="23"/>
              </a:cxn>
              <a:cxn ang="0">
                <a:pos x="207" y="27"/>
              </a:cxn>
              <a:cxn ang="0">
                <a:pos x="213" y="31"/>
              </a:cxn>
              <a:cxn ang="0">
                <a:pos x="211" y="35"/>
              </a:cxn>
              <a:cxn ang="0">
                <a:pos x="207" y="38"/>
              </a:cxn>
              <a:cxn ang="0">
                <a:pos x="201" y="41"/>
              </a:cxn>
              <a:cxn ang="0">
                <a:pos x="195" y="44"/>
              </a:cxn>
              <a:cxn ang="0">
                <a:pos x="177" y="49"/>
              </a:cxn>
              <a:cxn ang="0">
                <a:pos x="156" y="53"/>
              </a:cxn>
              <a:cxn ang="0">
                <a:pos x="135" y="57"/>
              </a:cxn>
              <a:cxn ang="0">
                <a:pos x="114" y="59"/>
              </a:cxn>
              <a:cxn ang="0">
                <a:pos x="95" y="62"/>
              </a:cxn>
              <a:cxn ang="0">
                <a:pos x="80" y="62"/>
              </a:cxn>
              <a:cxn ang="0">
                <a:pos x="62" y="62"/>
              </a:cxn>
              <a:cxn ang="0">
                <a:pos x="43" y="59"/>
              </a:cxn>
              <a:cxn ang="0">
                <a:pos x="33" y="59"/>
              </a:cxn>
              <a:cxn ang="0">
                <a:pos x="23" y="59"/>
              </a:cxn>
              <a:cxn ang="0">
                <a:pos x="12" y="60"/>
              </a:cxn>
              <a:cxn ang="0">
                <a:pos x="0" y="62"/>
              </a:cxn>
              <a:cxn ang="0">
                <a:pos x="6" y="50"/>
              </a:cxn>
              <a:cxn ang="0">
                <a:pos x="11" y="39"/>
              </a:cxn>
              <a:cxn ang="0">
                <a:pos x="17" y="29"/>
              </a:cxn>
              <a:cxn ang="0">
                <a:pos x="23" y="20"/>
              </a:cxn>
              <a:cxn ang="0">
                <a:pos x="27" y="16"/>
              </a:cxn>
              <a:cxn ang="0">
                <a:pos x="30" y="12"/>
              </a:cxn>
              <a:cxn ang="0">
                <a:pos x="34" y="9"/>
              </a:cxn>
              <a:cxn ang="0">
                <a:pos x="39" y="6"/>
              </a:cxn>
              <a:cxn ang="0">
                <a:pos x="43" y="3"/>
              </a:cxn>
              <a:cxn ang="0">
                <a:pos x="49" y="1"/>
              </a:cxn>
              <a:cxn ang="0">
                <a:pos x="54" y="0"/>
              </a:cxn>
              <a:cxn ang="0">
                <a:pos x="61" y="0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30" y="3"/>
              </a:cxn>
              <a:cxn ang="0">
                <a:pos x="23" y="5"/>
              </a:cxn>
              <a:cxn ang="0">
                <a:pos x="19" y="7"/>
              </a:cxn>
              <a:cxn ang="0">
                <a:pos x="15" y="9"/>
              </a:cxn>
              <a:cxn ang="0">
                <a:pos x="13" y="13"/>
              </a:cxn>
              <a:cxn ang="0">
                <a:pos x="10" y="15"/>
              </a:cxn>
              <a:cxn ang="0">
                <a:pos x="7" y="17"/>
              </a:cxn>
              <a:cxn ang="0">
                <a:pos x="0" y="19"/>
              </a:cxn>
              <a:cxn ang="0">
                <a:pos x="2" y="24"/>
              </a:cxn>
              <a:cxn ang="0">
                <a:pos x="5" y="27"/>
              </a:cxn>
              <a:cxn ang="0">
                <a:pos x="7" y="30"/>
              </a:cxn>
              <a:cxn ang="0">
                <a:pos x="10" y="33"/>
              </a:cxn>
              <a:cxn ang="0">
                <a:pos x="17" y="36"/>
              </a:cxn>
              <a:cxn ang="0">
                <a:pos x="24" y="38"/>
              </a:cxn>
              <a:cxn ang="0">
                <a:pos x="41" y="38"/>
              </a:cxn>
              <a:cxn ang="0">
                <a:pos x="54" y="38"/>
              </a:cxn>
              <a:cxn ang="0">
                <a:pos x="153" y="38"/>
              </a:cxn>
              <a:cxn ang="0">
                <a:pos x="155" y="41"/>
              </a:cxn>
              <a:cxn ang="0">
                <a:pos x="156" y="44"/>
              </a:cxn>
              <a:cxn ang="0">
                <a:pos x="159" y="46"/>
              </a:cxn>
              <a:cxn ang="0">
                <a:pos x="162" y="48"/>
              </a:cxn>
              <a:cxn ang="0">
                <a:pos x="167" y="51"/>
              </a:cxn>
              <a:cxn ang="0">
                <a:pos x="174" y="54"/>
              </a:cxn>
              <a:cxn ang="0">
                <a:pos x="188" y="56"/>
              </a:cxn>
              <a:cxn ang="0">
                <a:pos x="200" y="56"/>
              </a:cxn>
              <a:cxn ang="0">
                <a:pos x="204" y="55"/>
              </a:cxn>
              <a:cxn ang="0">
                <a:pos x="210" y="54"/>
              </a:cxn>
              <a:cxn ang="0">
                <a:pos x="214" y="52"/>
              </a:cxn>
              <a:cxn ang="0">
                <a:pos x="220" y="49"/>
              </a:cxn>
              <a:cxn ang="0">
                <a:pos x="230" y="43"/>
              </a:cxn>
              <a:cxn ang="0">
                <a:pos x="239" y="38"/>
              </a:cxn>
              <a:cxn ang="0">
                <a:pos x="232" y="37"/>
              </a:cxn>
              <a:cxn ang="0">
                <a:pos x="225" y="36"/>
              </a:cxn>
              <a:cxn ang="0">
                <a:pos x="219" y="34"/>
              </a:cxn>
              <a:cxn ang="0">
                <a:pos x="213" y="32"/>
              </a:cxn>
              <a:cxn ang="0">
                <a:pos x="201" y="26"/>
              </a:cxn>
              <a:cxn ang="0">
                <a:pos x="190" y="19"/>
              </a:cxn>
              <a:cxn ang="0">
                <a:pos x="178" y="13"/>
              </a:cxn>
              <a:cxn ang="0">
                <a:pos x="167" y="6"/>
              </a:cxn>
              <a:cxn ang="0">
                <a:pos x="160" y="4"/>
              </a:cxn>
              <a:cxn ang="0">
                <a:pos x="154" y="2"/>
              </a:cxn>
              <a:cxn ang="0">
                <a:pos x="147" y="1"/>
              </a:cxn>
              <a:cxn ang="0">
                <a:pos x="140" y="0"/>
              </a:cxn>
              <a:cxn ang="0">
                <a:pos x="134" y="1"/>
              </a:cxn>
              <a:cxn ang="0">
                <a:pos x="127" y="4"/>
              </a:cxn>
              <a:cxn ang="0">
                <a:pos x="124" y="6"/>
              </a:cxn>
              <a:cxn ang="0">
                <a:pos x="122" y="8"/>
              </a:cxn>
              <a:cxn ang="0">
                <a:pos x="121" y="10"/>
              </a:cxn>
              <a:cxn ang="0">
                <a:pos x="120" y="13"/>
              </a:cxn>
              <a:cxn ang="0">
                <a:pos x="100" y="8"/>
              </a:cxn>
              <a:cxn ang="0">
                <a:pos x="80" y="4"/>
              </a:cxn>
              <a:cxn ang="0">
                <a:pos x="61" y="1"/>
              </a:cxn>
              <a:cxn ang="0">
                <a:pos x="41" y="0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41" y="0"/>
              </a:cxn>
              <a:cxn ang="0">
                <a:pos x="44" y="3"/>
              </a:cxn>
              <a:cxn ang="0">
                <a:pos x="50" y="6"/>
              </a:cxn>
              <a:cxn ang="0">
                <a:pos x="58" y="9"/>
              </a:cxn>
              <a:cxn ang="0">
                <a:pos x="67" y="12"/>
              </a:cxn>
              <a:cxn ang="0">
                <a:pos x="89" y="19"/>
              </a:cxn>
              <a:cxn ang="0">
                <a:pos x="114" y="26"/>
              </a:cxn>
              <a:cxn ang="0">
                <a:pos x="139" y="33"/>
              </a:cxn>
              <a:cxn ang="0">
                <a:pos x="161" y="38"/>
              </a:cxn>
              <a:cxn ang="0">
                <a:pos x="177" y="42"/>
              </a:cxn>
              <a:cxn ang="0">
                <a:pos x="187" y="43"/>
              </a:cxn>
              <a:cxn ang="0">
                <a:pos x="187" y="56"/>
              </a:cxn>
              <a:cxn ang="0">
                <a:pos x="187" y="68"/>
              </a:cxn>
              <a:cxn ang="0">
                <a:pos x="170" y="70"/>
              </a:cxn>
              <a:cxn ang="0">
                <a:pos x="151" y="71"/>
              </a:cxn>
              <a:cxn ang="0">
                <a:pos x="133" y="71"/>
              </a:cxn>
              <a:cxn ang="0">
                <a:pos x="116" y="70"/>
              </a:cxn>
              <a:cxn ang="0">
                <a:pos x="85" y="69"/>
              </a:cxn>
              <a:cxn ang="0">
                <a:pos x="61" y="68"/>
              </a:cxn>
              <a:cxn ang="0">
                <a:pos x="55" y="69"/>
              </a:cxn>
              <a:cxn ang="0">
                <a:pos x="51" y="70"/>
              </a:cxn>
              <a:cxn ang="0">
                <a:pos x="45" y="72"/>
              </a:cxn>
              <a:cxn ang="0">
                <a:pos x="41" y="74"/>
              </a:cxn>
              <a:cxn ang="0">
                <a:pos x="33" y="78"/>
              </a:cxn>
              <a:cxn ang="0">
                <a:pos x="28" y="80"/>
              </a:cxn>
              <a:cxn ang="0">
                <a:pos x="22" y="79"/>
              </a:cxn>
              <a:cxn ang="0">
                <a:pos x="18" y="76"/>
              </a:cxn>
              <a:cxn ang="0">
                <a:pos x="14" y="72"/>
              </a:cxn>
              <a:cxn ang="0">
                <a:pos x="9" y="67"/>
              </a:cxn>
              <a:cxn ang="0">
                <a:pos x="6" y="62"/>
              </a:cxn>
              <a:cxn ang="0">
                <a:pos x="3" y="57"/>
              </a:cxn>
              <a:cxn ang="0">
                <a:pos x="2" y="53"/>
              </a:cxn>
              <a:cxn ang="0">
                <a:pos x="0" y="50"/>
              </a:cxn>
              <a:cxn ang="0">
                <a:pos x="2" y="44"/>
              </a:cxn>
              <a:cxn ang="0">
                <a:pos x="3" y="40"/>
              </a:cxn>
              <a:cxn ang="0">
                <a:pos x="5" y="36"/>
              </a:cxn>
              <a:cxn ang="0">
                <a:pos x="7" y="31"/>
              </a:cxn>
              <a:cxn ang="0">
                <a:pos x="13" y="24"/>
              </a:cxn>
              <a:cxn ang="0">
                <a:pos x="14" y="1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63" y="0"/>
              </a:cxn>
              <a:cxn ang="0">
                <a:pos x="75" y="1"/>
              </a:cxn>
              <a:cxn ang="0">
                <a:pos x="86" y="4"/>
              </a:cxn>
              <a:cxn ang="0">
                <a:pos x="97" y="7"/>
              </a:cxn>
              <a:cxn ang="0">
                <a:pos x="106" y="10"/>
              </a:cxn>
              <a:cxn ang="0">
                <a:pos x="116" y="15"/>
              </a:cxn>
              <a:cxn ang="0">
                <a:pos x="124" y="19"/>
              </a:cxn>
              <a:cxn ang="0">
                <a:pos x="131" y="25"/>
              </a:cxn>
              <a:cxn ang="0">
                <a:pos x="159" y="49"/>
              </a:cxn>
              <a:cxn ang="0">
                <a:pos x="183" y="73"/>
              </a:cxn>
              <a:cxn ang="0">
                <a:pos x="137" y="73"/>
              </a:cxn>
              <a:cxn ang="0">
                <a:pos x="128" y="72"/>
              </a:cxn>
              <a:cxn ang="0">
                <a:pos x="117" y="70"/>
              </a:cxn>
              <a:cxn ang="0">
                <a:pos x="104" y="66"/>
              </a:cxn>
              <a:cxn ang="0">
                <a:pos x="90" y="62"/>
              </a:cxn>
              <a:cxn ang="0">
                <a:pos x="73" y="56"/>
              </a:cxn>
              <a:cxn ang="0">
                <a:pos x="58" y="50"/>
              </a:cxn>
              <a:cxn ang="0">
                <a:pos x="42" y="44"/>
              </a:cxn>
              <a:cxn ang="0">
                <a:pos x="28" y="37"/>
              </a:cxn>
              <a:cxn ang="0">
                <a:pos x="16" y="30"/>
              </a:cxn>
              <a:cxn ang="0">
                <a:pos x="7" y="23"/>
              </a:cxn>
              <a:cxn ang="0">
                <a:pos x="4" y="19"/>
              </a:cxn>
              <a:cxn ang="0">
                <a:pos x="2" y="16"/>
              </a:cxn>
              <a:cxn ang="0">
                <a:pos x="1" y="14"/>
              </a:cxn>
              <a:cxn ang="0">
                <a:pos x="0" y="11"/>
              </a:cxn>
              <a:cxn ang="0">
                <a:pos x="1" y="8"/>
              </a:cxn>
              <a:cxn ang="0">
                <a:pos x="3" y="6"/>
              </a:cxn>
              <a:cxn ang="0">
                <a:pos x="7" y="4"/>
              </a:cxn>
              <a:cxn ang="0">
                <a:pos x="13" y="3"/>
              </a:cxn>
              <a:cxn ang="0">
                <a:pos x="19" y="1"/>
              </a:cxn>
              <a:cxn ang="0">
                <a:pos x="28" y="0"/>
              </a:cxn>
              <a:cxn ang="0">
                <a:pos x="38" y="0"/>
              </a:cxn>
              <a:cxn ang="0">
                <a:pos x="50" y="0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3" y="2"/>
              </a:cxn>
              <a:cxn ang="0">
                <a:pos x="41" y="1"/>
              </a:cxn>
              <a:cxn ang="0">
                <a:pos x="60" y="0"/>
              </a:cxn>
              <a:cxn ang="0">
                <a:pos x="79" y="0"/>
              </a:cxn>
              <a:cxn ang="0">
                <a:pos x="79" y="9"/>
              </a:cxn>
              <a:cxn ang="0">
                <a:pos x="79" y="18"/>
              </a:cxn>
              <a:cxn ang="0">
                <a:pos x="79" y="22"/>
              </a:cxn>
              <a:cxn ang="0">
                <a:pos x="75" y="27"/>
              </a:cxn>
              <a:cxn ang="0">
                <a:pos x="72" y="31"/>
              </a:cxn>
              <a:cxn ang="0">
                <a:pos x="68" y="35"/>
              </a:cxn>
              <a:cxn ang="0">
                <a:pos x="62" y="38"/>
              </a:cxn>
              <a:cxn ang="0">
                <a:pos x="57" y="40"/>
              </a:cxn>
              <a:cxn ang="0">
                <a:pos x="51" y="42"/>
              </a:cxn>
              <a:cxn ang="0">
                <a:pos x="46" y="42"/>
              </a:cxn>
              <a:cxn ang="0">
                <a:pos x="40" y="42"/>
              </a:cxn>
              <a:cxn ang="0">
                <a:pos x="35" y="41"/>
              </a:cxn>
              <a:cxn ang="0">
                <a:pos x="29" y="39"/>
              </a:cxn>
              <a:cxn ang="0">
                <a:pos x="25" y="37"/>
              </a:cxn>
              <a:cxn ang="0">
                <a:pos x="16" y="32"/>
              </a:cxn>
              <a:cxn ang="0">
                <a:pos x="11" y="26"/>
              </a:cxn>
              <a:cxn ang="0">
                <a:pos x="5" y="20"/>
              </a:cxn>
              <a:cxn ang="0">
                <a:pos x="2" y="14"/>
              </a:cxn>
              <a:cxn ang="0">
                <a:pos x="0" y="9"/>
              </a:cxn>
              <a:cxn ang="0">
                <a:pos x="0" y="6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/>
            <a:ahLst/>
            <a:cxnLst>
              <a:cxn ang="0">
                <a:pos x="113" y="39"/>
              </a:cxn>
              <a:cxn ang="0">
                <a:pos x="112" y="42"/>
              </a:cxn>
              <a:cxn ang="0">
                <a:pos x="109" y="45"/>
              </a:cxn>
              <a:cxn ang="0">
                <a:pos x="106" y="47"/>
              </a:cxn>
              <a:cxn ang="0">
                <a:pos x="103" y="49"/>
              </a:cxn>
              <a:cxn ang="0">
                <a:pos x="94" y="51"/>
              </a:cxn>
              <a:cxn ang="0">
                <a:pos x="85" y="52"/>
              </a:cxn>
              <a:cxn ang="0">
                <a:pos x="66" y="52"/>
              </a:cxn>
              <a:cxn ang="0">
                <a:pos x="53" y="51"/>
              </a:cxn>
              <a:cxn ang="0">
                <a:pos x="47" y="51"/>
              </a:cxn>
              <a:cxn ang="0">
                <a:pos x="39" y="48"/>
              </a:cxn>
              <a:cxn ang="0">
                <a:pos x="30" y="45"/>
              </a:cxn>
              <a:cxn ang="0">
                <a:pos x="21" y="41"/>
              </a:cxn>
              <a:cxn ang="0">
                <a:pos x="13" y="36"/>
              </a:cxn>
              <a:cxn ang="0">
                <a:pos x="6" y="31"/>
              </a:cxn>
              <a:cxn ang="0">
                <a:pos x="4" y="28"/>
              </a:cxn>
              <a:cxn ang="0">
                <a:pos x="2" y="25"/>
              </a:cxn>
              <a:cxn ang="0">
                <a:pos x="1" y="22"/>
              </a:cxn>
              <a:cxn ang="0">
                <a:pos x="0" y="20"/>
              </a:cxn>
              <a:cxn ang="0">
                <a:pos x="1" y="15"/>
              </a:cxn>
              <a:cxn ang="0">
                <a:pos x="1" y="11"/>
              </a:cxn>
              <a:cxn ang="0">
                <a:pos x="3" y="8"/>
              </a:cxn>
              <a:cxn ang="0">
                <a:pos x="5" y="5"/>
              </a:cxn>
              <a:cxn ang="0">
                <a:pos x="7" y="3"/>
              </a:cxn>
              <a:cxn ang="0">
                <a:pos x="10" y="2"/>
              </a:cxn>
              <a:cxn ang="0">
                <a:pos x="14" y="1"/>
              </a:cxn>
              <a:cxn ang="0">
                <a:pos x="17" y="0"/>
              </a:cxn>
              <a:cxn ang="0">
                <a:pos x="26" y="0"/>
              </a:cxn>
              <a:cxn ang="0">
                <a:pos x="36" y="2"/>
              </a:cxn>
              <a:cxn ang="0">
                <a:pos x="46" y="5"/>
              </a:cxn>
              <a:cxn ang="0">
                <a:pos x="57" y="9"/>
              </a:cxn>
              <a:cxn ang="0">
                <a:pos x="77" y="18"/>
              </a:cxn>
              <a:cxn ang="0">
                <a:pos x="95" y="29"/>
              </a:cxn>
              <a:cxn ang="0">
                <a:pos x="108" y="36"/>
              </a:cxn>
              <a:cxn ang="0">
                <a:pos x="113" y="3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8" y="9"/>
              </a:cxn>
              <a:cxn ang="0">
                <a:pos x="19" y="8"/>
              </a:cxn>
              <a:cxn ang="0">
                <a:pos x="30" y="7"/>
              </a:cxn>
              <a:cxn ang="0">
                <a:pos x="42" y="5"/>
              </a:cxn>
              <a:cxn ang="0">
                <a:pos x="53" y="2"/>
              </a:cxn>
              <a:cxn ang="0">
                <a:pos x="64" y="1"/>
              </a:cxn>
              <a:cxn ang="0">
                <a:pos x="73" y="0"/>
              </a:cxn>
              <a:cxn ang="0">
                <a:pos x="80" y="2"/>
              </a:cxn>
              <a:cxn ang="0">
                <a:pos x="139" y="39"/>
              </a:cxn>
              <a:cxn ang="0">
                <a:pos x="133" y="40"/>
              </a:cxn>
              <a:cxn ang="0">
                <a:pos x="125" y="39"/>
              </a:cxn>
              <a:cxn ang="0">
                <a:pos x="116" y="38"/>
              </a:cxn>
              <a:cxn ang="0">
                <a:pos x="106" y="36"/>
              </a:cxn>
              <a:cxn ang="0">
                <a:pos x="86" y="30"/>
              </a:cxn>
              <a:cxn ang="0">
                <a:pos x="64" y="24"/>
              </a:cxn>
              <a:cxn ang="0">
                <a:pos x="44" y="16"/>
              </a:cxn>
              <a:cxn ang="0">
                <a:pos x="26" y="11"/>
              </a:cxn>
              <a:cxn ang="0">
                <a:pos x="17" y="9"/>
              </a:cxn>
              <a:cxn ang="0">
                <a:pos x="11" y="7"/>
              </a:cxn>
              <a:cxn ang="0">
                <a:pos x="4" y="7"/>
              </a:cxn>
              <a:cxn ang="0">
                <a:pos x="0" y="8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/>
            <a:ahLst/>
            <a:cxnLst>
              <a:cxn ang="0">
                <a:pos x="10" y="7"/>
              </a:cxn>
              <a:cxn ang="0">
                <a:pos x="31" y="1"/>
              </a:cxn>
              <a:cxn ang="0">
                <a:pos x="53" y="0"/>
              </a:cxn>
              <a:cxn ang="0">
                <a:pos x="73" y="4"/>
              </a:cxn>
              <a:cxn ang="0">
                <a:pos x="92" y="10"/>
              </a:cxn>
              <a:cxn ang="0">
                <a:pos x="110" y="18"/>
              </a:cxn>
              <a:cxn ang="0">
                <a:pos x="122" y="29"/>
              </a:cxn>
              <a:cxn ang="0">
                <a:pos x="130" y="38"/>
              </a:cxn>
              <a:cxn ang="0">
                <a:pos x="136" y="34"/>
              </a:cxn>
              <a:cxn ang="0">
                <a:pos x="139" y="15"/>
              </a:cxn>
              <a:cxn ang="0">
                <a:pos x="161" y="7"/>
              </a:cxn>
              <a:cxn ang="0">
                <a:pos x="216" y="13"/>
              </a:cxn>
              <a:cxn ang="0">
                <a:pos x="258" y="23"/>
              </a:cxn>
              <a:cxn ang="0">
                <a:pos x="283" y="32"/>
              </a:cxn>
              <a:cxn ang="0">
                <a:pos x="305" y="43"/>
              </a:cxn>
              <a:cxn ang="0">
                <a:pos x="320" y="55"/>
              </a:cxn>
              <a:cxn ang="0">
                <a:pos x="316" y="64"/>
              </a:cxn>
              <a:cxn ang="0">
                <a:pos x="294" y="68"/>
              </a:cxn>
              <a:cxn ang="0">
                <a:pos x="259" y="71"/>
              </a:cxn>
              <a:cxn ang="0">
                <a:pos x="210" y="70"/>
              </a:cxn>
              <a:cxn ang="0">
                <a:pos x="167" y="68"/>
              </a:cxn>
              <a:cxn ang="0">
                <a:pos x="133" y="69"/>
              </a:cxn>
              <a:cxn ang="0">
                <a:pos x="90" y="71"/>
              </a:cxn>
              <a:cxn ang="0">
                <a:pos x="72" y="68"/>
              </a:cxn>
              <a:cxn ang="0">
                <a:pos x="67" y="64"/>
              </a:cxn>
              <a:cxn ang="0">
                <a:pos x="58" y="61"/>
              </a:cxn>
              <a:cxn ang="0">
                <a:pos x="46" y="59"/>
              </a:cxn>
              <a:cxn ang="0">
                <a:pos x="35" y="53"/>
              </a:cxn>
              <a:cxn ang="0">
                <a:pos x="25" y="45"/>
              </a:cxn>
              <a:cxn ang="0">
                <a:pos x="16" y="39"/>
              </a:cxn>
              <a:cxn ang="0">
                <a:pos x="6" y="37"/>
              </a:cxn>
              <a:cxn ang="0">
                <a:pos x="0" y="22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/>
            <a:ahLst/>
            <a:cxnLst>
              <a:cxn ang="0">
                <a:pos x="87" y="25"/>
              </a:cxn>
              <a:cxn ang="0">
                <a:pos x="92" y="26"/>
              </a:cxn>
              <a:cxn ang="0">
                <a:pos x="98" y="27"/>
              </a:cxn>
              <a:cxn ang="0">
                <a:pos x="101" y="28"/>
              </a:cxn>
              <a:cxn ang="0">
                <a:pos x="104" y="27"/>
              </a:cxn>
              <a:cxn ang="0">
                <a:pos x="109" y="27"/>
              </a:cxn>
              <a:cxn ang="0">
                <a:pos x="113" y="25"/>
              </a:cxn>
              <a:cxn ang="0">
                <a:pos x="114" y="26"/>
              </a:cxn>
              <a:cxn ang="0">
                <a:pos x="115" y="26"/>
              </a:cxn>
              <a:cxn ang="0">
                <a:pos x="116" y="25"/>
              </a:cxn>
              <a:cxn ang="0">
                <a:pos x="117" y="25"/>
              </a:cxn>
              <a:cxn ang="0">
                <a:pos x="119" y="22"/>
              </a:cxn>
              <a:cxn ang="0">
                <a:pos x="120" y="17"/>
              </a:cxn>
              <a:cxn ang="0">
                <a:pos x="120" y="7"/>
              </a:cxn>
              <a:cxn ang="0">
                <a:pos x="120" y="0"/>
              </a:cxn>
              <a:cxn ang="0">
                <a:pos x="125" y="5"/>
              </a:cxn>
              <a:cxn ang="0">
                <a:pos x="131" y="10"/>
              </a:cxn>
              <a:cxn ang="0">
                <a:pos x="137" y="15"/>
              </a:cxn>
              <a:cxn ang="0">
                <a:pos x="143" y="19"/>
              </a:cxn>
              <a:cxn ang="0">
                <a:pos x="156" y="25"/>
              </a:cxn>
              <a:cxn ang="0">
                <a:pos x="170" y="30"/>
              </a:cxn>
              <a:cxn ang="0">
                <a:pos x="183" y="35"/>
              </a:cxn>
              <a:cxn ang="0">
                <a:pos x="196" y="41"/>
              </a:cxn>
              <a:cxn ang="0">
                <a:pos x="203" y="44"/>
              </a:cxn>
              <a:cxn ang="0">
                <a:pos x="209" y="47"/>
              </a:cxn>
              <a:cxn ang="0">
                <a:pos x="214" y="51"/>
              </a:cxn>
              <a:cxn ang="0">
                <a:pos x="220" y="55"/>
              </a:cxn>
              <a:cxn ang="0">
                <a:pos x="206" y="56"/>
              </a:cxn>
              <a:cxn ang="0">
                <a:pos x="194" y="57"/>
              </a:cxn>
              <a:cxn ang="0">
                <a:pos x="182" y="58"/>
              </a:cxn>
              <a:cxn ang="0">
                <a:pos x="171" y="60"/>
              </a:cxn>
              <a:cxn ang="0">
                <a:pos x="151" y="65"/>
              </a:cxn>
              <a:cxn ang="0">
                <a:pos x="134" y="70"/>
              </a:cxn>
              <a:cxn ang="0">
                <a:pos x="126" y="71"/>
              </a:cxn>
              <a:cxn ang="0">
                <a:pos x="117" y="72"/>
              </a:cxn>
              <a:cxn ang="0">
                <a:pos x="110" y="72"/>
              </a:cxn>
              <a:cxn ang="0">
                <a:pos x="103" y="72"/>
              </a:cxn>
              <a:cxn ang="0">
                <a:pos x="95" y="70"/>
              </a:cxn>
              <a:cxn ang="0">
                <a:pos x="88" y="66"/>
              </a:cxn>
              <a:cxn ang="0">
                <a:pos x="81" y="61"/>
              </a:cxn>
              <a:cxn ang="0">
                <a:pos x="74" y="55"/>
              </a:cxn>
              <a:cxn ang="0">
                <a:pos x="59" y="53"/>
              </a:cxn>
              <a:cxn ang="0">
                <a:pos x="45" y="50"/>
              </a:cxn>
              <a:cxn ang="0">
                <a:pos x="33" y="47"/>
              </a:cxn>
              <a:cxn ang="0">
                <a:pos x="22" y="43"/>
              </a:cxn>
              <a:cxn ang="0">
                <a:pos x="18" y="41"/>
              </a:cxn>
              <a:cxn ang="0">
                <a:pos x="13" y="38"/>
              </a:cxn>
              <a:cxn ang="0">
                <a:pos x="9" y="35"/>
              </a:cxn>
              <a:cxn ang="0">
                <a:pos x="7" y="31"/>
              </a:cxn>
              <a:cxn ang="0">
                <a:pos x="3" y="27"/>
              </a:cxn>
              <a:cxn ang="0">
                <a:pos x="2" y="23"/>
              </a:cxn>
              <a:cxn ang="0">
                <a:pos x="1" y="18"/>
              </a:cxn>
              <a:cxn ang="0">
                <a:pos x="0" y="13"/>
              </a:cxn>
              <a:cxn ang="0">
                <a:pos x="23" y="17"/>
              </a:cxn>
              <a:cxn ang="0">
                <a:pos x="44" y="21"/>
              </a:cxn>
              <a:cxn ang="0">
                <a:pos x="64" y="24"/>
              </a:cxn>
              <a:cxn ang="0">
                <a:pos x="87" y="25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/>
            <a:ahLst/>
            <a:cxnLst>
              <a:cxn ang="0">
                <a:pos x="146" y="25"/>
              </a:cxn>
              <a:cxn ang="0">
                <a:pos x="140" y="16"/>
              </a:cxn>
              <a:cxn ang="0">
                <a:pos x="137" y="9"/>
              </a:cxn>
              <a:cxn ang="0">
                <a:pos x="133" y="4"/>
              </a:cxn>
              <a:cxn ang="0">
                <a:pos x="128" y="1"/>
              </a:cxn>
              <a:cxn ang="0">
                <a:pos x="126" y="1"/>
              </a:cxn>
              <a:cxn ang="0">
                <a:pos x="124" y="1"/>
              </a:cxn>
              <a:cxn ang="0">
                <a:pos x="120" y="2"/>
              </a:cxn>
              <a:cxn ang="0">
                <a:pos x="118" y="3"/>
              </a:cxn>
              <a:cxn ang="0">
                <a:pos x="113" y="9"/>
              </a:cxn>
              <a:cxn ang="0">
                <a:pos x="105" y="19"/>
              </a:cxn>
              <a:cxn ang="0">
                <a:pos x="72" y="19"/>
              </a:cxn>
              <a:cxn ang="0">
                <a:pos x="63" y="18"/>
              </a:cxn>
              <a:cxn ang="0">
                <a:pos x="55" y="17"/>
              </a:cxn>
              <a:cxn ang="0">
                <a:pos x="47" y="14"/>
              </a:cxn>
              <a:cxn ang="0">
                <a:pos x="40" y="12"/>
              </a:cxn>
              <a:cxn ang="0">
                <a:pos x="29" y="6"/>
              </a:cxn>
              <a:cxn ang="0">
                <a:pos x="19" y="0"/>
              </a:cxn>
              <a:cxn ang="0">
                <a:pos x="14" y="9"/>
              </a:cxn>
              <a:cxn ang="0">
                <a:pos x="10" y="15"/>
              </a:cxn>
              <a:cxn ang="0">
                <a:pos x="4" y="20"/>
              </a:cxn>
              <a:cxn ang="0">
                <a:pos x="0" y="25"/>
              </a:cxn>
              <a:cxn ang="0">
                <a:pos x="33" y="25"/>
              </a:cxn>
              <a:cxn ang="0">
                <a:pos x="57" y="25"/>
              </a:cxn>
              <a:cxn ang="0">
                <a:pos x="77" y="25"/>
              </a:cxn>
              <a:cxn ang="0">
                <a:pos x="99" y="25"/>
              </a:cxn>
              <a:cxn ang="0">
                <a:pos x="110" y="26"/>
              </a:cxn>
              <a:cxn ang="0">
                <a:pos x="123" y="29"/>
              </a:cxn>
              <a:cxn ang="0">
                <a:pos x="128" y="30"/>
              </a:cxn>
              <a:cxn ang="0">
                <a:pos x="135" y="30"/>
              </a:cxn>
              <a:cxn ang="0">
                <a:pos x="140" y="28"/>
              </a:cxn>
              <a:cxn ang="0">
                <a:pos x="146" y="25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/>
            <a:ahLst/>
            <a:cxnLst>
              <a:cxn ang="0">
                <a:pos x="0" y="9"/>
              </a:cxn>
              <a:cxn ang="0">
                <a:pos x="17" y="9"/>
              </a:cxn>
              <a:cxn ang="0">
                <a:pos x="29" y="9"/>
              </a:cxn>
              <a:cxn ang="0">
                <a:pos x="40" y="9"/>
              </a:cxn>
              <a:cxn ang="0">
                <a:pos x="53" y="9"/>
              </a:cxn>
              <a:cxn ang="0">
                <a:pos x="46" y="6"/>
              </a:cxn>
              <a:cxn ang="0">
                <a:pos x="38" y="3"/>
              </a:cxn>
              <a:cxn ang="0">
                <a:pos x="31" y="1"/>
              </a:cxn>
              <a:cxn ang="0">
                <a:pos x="25" y="0"/>
              </a:cxn>
              <a:cxn ang="0">
                <a:pos x="19" y="0"/>
              </a:cxn>
              <a:cxn ang="0">
                <a:pos x="14" y="0"/>
              </a:cxn>
              <a:cxn ang="0">
                <a:pos x="9" y="1"/>
              </a:cxn>
              <a:cxn ang="0">
                <a:pos x="6" y="3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5" y="17"/>
              </a:cxn>
              <a:cxn ang="0">
                <a:pos x="13" y="8"/>
              </a:cxn>
              <a:cxn ang="0">
                <a:pos x="16" y="5"/>
              </a:cxn>
              <a:cxn ang="0">
                <a:pos x="20" y="2"/>
              </a:cxn>
              <a:cxn ang="0">
                <a:pos x="23" y="1"/>
              </a:cxn>
              <a:cxn ang="0">
                <a:pos x="26" y="0"/>
              </a:cxn>
              <a:cxn ang="0">
                <a:pos x="26" y="25"/>
              </a:cxn>
              <a:cxn ang="0">
                <a:pos x="20" y="25"/>
              </a:cxn>
              <a:cxn ang="0">
                <a:pos x="13" y="25"/>
              </a:cxn>
              <a:cxn ang="0">
                <a:pos x="0" y="25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/>
            <a:ahLst/>
            <a:cxnLst>
              <a:cxn ang="0">
                <a:pos x="33" y="25"/>
              </a:cxn>
              <a:cxn ang="0">
                <a:pos x="33" y="12"/>
              </a:cxn>
              <a:cxn ang="0">
                <a:pos x="33" y="0"/>
              </a:cxn>
              <a:cxn ang="0">
                <a:pos x="0" y="0"/>
              </a:cxn>
              <a:cxn ang="0">
                <a:pos x="9" y="9"/>
              </a:cxn>
              <a:cxn ang="0">
                <a:pos x="16" y="17"/>
              </a:cxn>
              <a:cxn ang="0">
                <a:pos x="20" y="20"/>
              </a:cxn>
              <a:cxn ang="0">
                <a:pos x="24" y="23"/>
              </a:cxn>
              <a:cxn ang="0">
                <a:pos x="28" y="24"/>
              </a:cxn>
              <a:cxn ang="0">
                <a:pos x="33" y="25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8"/>
              </a:cxn>
              <a:cxn ang="0">
                <a:pos x="16" y="11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0"/>
              </a:cxn>
              <a:cxn ang="0">
                <a:pos x="9" y="0"/>
              </a:cxn>
              <a:cxn ang="0">
                <a:pos x="16" y="0"/>
              </a:cxn>
              <a:cxn ang="0">
                <a:pos x="24" y="0"/>
              </a:cxn>
              <a:cxn ang="0">
                <a:pos x="33" y="0"/>
              </a:cxn>
              <a:cxn ang="0">
                <a:pos x="30" y="2"/>
              </a:cxn>
              <a:cxn ang="0">
                <a:pos x="29" y="5"/>
              </a:cxn>
              <a:cxn ang="0">
                <a:pos x="28" y="9"/>
              </a:cxn>
              <a:cxn ang="0">
                <a:pos x="28" y="13"/>
              </a:cxn>
              <a:cxn ang="0">
                <a:pos x="28" y="17"/>
              </a:cxn>
              <a:cxn ang="0">
                <a:pos x="29" y="21"/>
              </a:cxn>
              <a:cxn ang="0">
                <a:pos x="30" y="26"/>
              </a:cxn>
              <a:cxn ang="0">
                <a:pos x="33" y="31"/>
              </a:cxn>
              <a:cxn ang="0">
                <a:pos x="0" y="31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/>
            <a:ahLst/>
            <a:cxnLst>
              <a:cxn ang="0">
                <a:pos x="3" y="44"/>
              </a:cxn>
              <a:cxn ang="0">
                <a:pos x="1" y="42"/>
              </a:cxn>
              <a:cxn ang="0">
                <a:pos x="1" y="40"/>
              </a:cxn>
              <a:cxn ang="0">
                <a:pos x="0" y="37"/>
              </a:cxn>
              <a:cxn ang="0">
                <a:pos x="1" y="33"/>
              </a:cxn>
              <a:cxn ang="0">
                <a:pos x="2" y="25"/>
              </a:cxn>
              <a:cxn ang="0">
                <a:pos x="3" y="18"/>
              </a:cxn>
              <a:cxn ang="0">
                <a:pos x="9" y="13"/>
              </a:cxn>
              <a:cxn ang="0">
                <a:pos x="16" y="9"/>
              </a:cxn>
              <a:cxn ang="0">
                <a:pos x="21" y="6"/>
              </a:cxn>
              <a:cxn ang="0">
                <a:pos x="27" y="5"/>
              </a:cxn>
              <a:cxn ang="0">
                <a:pos x="39" y="3"/>
              </a:cxn>
              <a:cxn ang="0">
                <a:pos x="57" y="0"/>
              </a:cxn>
              <a:cxn ang="0">
                <a:pos x="60" y="5"/>
              </a:cxn>
              <a:cxn ang="0">
                <a:pos x="64" y="8"/>
              </a:cxn>
              <a:cxn ang="0">
                <a:pos x="69" y="11"/>
              </a:cxn>
              <a:cxn ang="0">
                <a:pos x="73" y="14"/>
              </a:cxn>
              <a:cxn ang="0">
                <a:pos x="83" y="18"/>
              </a:cxn>
              <a:cxn ang="0">
                <a:pos x="93" y="21"/>
              </a:cxn>
              <a:cxn ang="0">
                <a:pos x="103" y="25"/>
              </a:cxn>
              <a:cxn ang="0">
                <a:pos x="113" y="29"/>
              </a:cxn>
              <a:cxn ang="0">
                <a:pos x="117" y="32"/>
              </a:cxn>
              <a:cxn ang="0">
                <a:pos x="121" y="35"/>
              </a:cxn>
              <a:cxn ang="0">
                <a:pos x="126" y="38"/>
              </a:cxn>
              <a:cxn ang="0">
                <a:pos x="129" y="44"/>
              </a:cxn>
              <a:cxn ang="0">
                <a:pos x="119" y="48"/>
              </a:cxn>
              <a:cxn ang="0">
                <a:pos x="109" y="51"/>
              </a:cxn>
              <a:cxn ang="0">
                <a:pos x="99" y="53"/>
              </a:cxn>
              <a:cxn ang="0">
                <a:pos x="90" y="54"/>
              </a:cxn>
              <a:cxn ang="0">
                <a:pos x="70" y="56"/>
              </a:cxn>
              <a:cxn ang="0">
                <a:pos x="49" y="56"/>
              </a:cxn>
              <a:cxn ang="0">
                <a:pos x="40" y="55"/>
              </a:cxn>
              <a:cxn ang="0">
                <a:pos x="31" y="54"/>
              </a:cxn>
              <a:cxn ang="0">
                <a:pos x="23" y="52"/>
              </a:cxn>
              <a:cxn ang="0">
                <a:pos x="16" y="50"/>
              </a:cxn>
              <a:cxn ang="0">
                <a:pos x="6" y="46"/>
              </a:cxn>
              <a:cxn ang="0">
                <a:pos x="3" y="44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/>
            <a:ahLst/>
            <a:cxnLst>
              <a:cxn ang="0">
                <a:pos x="21" y="42"/>
              </a:cxn>
              <a:cxn ang="0">
                <a:pos x="0" y="30"/>
              </a:cxn>
              <a:cxn ang="0">
                <a:pos x="0" y="6"/>
              </a:cxn>
              <a:cxn ang="0">
                <a:pos x="7" y="5"/>
              </a:cxn>
              <a:cxn ang="0">
                <a:pos x="14" y="3"/>
              </a:cxn>
              <a:cxn ang="0">
                <a:pos x="24" y="1"/>
              </a:cxn>
              <a:cxn ang="0">
                <a:pos x="34" y="0"/>
              </a:cxn>
              <a:cxn ang="0">
                <a:pos x="34" y="18"/>
              </a:cxn>
              <a:cxn ang="0">
                <a:pos x="41" y="18"/>
              </a:cxn>
              <a:cxn ang="0">
                <a:pos x="21" y="42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/>
            <a:ahLst/>
            <a:cxnLst>
              <a:cxn ang="0">
                <a:pos x="60" y="9"/>
              </a:cxn>
              <a:cxn ang="0">
                <a:pos x="67" y="18"/>
              </a:cxn>
              <a:cxn ang="0">
                <a:pos x="77" y="28"/>
              </a:cxn>
              <a:cxn ang="0">
                <a:pos x="81" y="33"/>
              </a:cxn>
              <a:cxn ang="0">
                <a:pos x="86" y="36"/>
              </a:cxn>
              <a:cxn ang="0">
                <a:pos x="90" y="38"/>
              </a:cxn>
              <a:cxn ang="0">
                <a:pos x="93" y="39"/>
              </a:cxn>
              <a:cxn ang="0">
                <a:pos x="60" y="39"/>
              </a:cxn>
              <a:cxn ang="0">
                <a:pos x="50" y="36"/>
              </a:cxn>
              <a:cxn ang="0">
                <a:pos x="43" y="32"/>
              </a:cxn>
              <a:cxn ang="0">
                <a:pos x="36" y="28"/>
              </a:cxn>
              <a:cxn ang="0">
                <a:pos x="30" y="23"/>
              </a:cxn>
              <a:cxn ang="0">
                <a:pos x="24" y="18"/>
              </a:cxn>
              <a:cxn ang="0">
                <a:pos x="16" y="13"/>
              </a:cxn>
              <a:cxn ang="0">
                <a:pos x="9" y="7"/>
              </a:cxn>
              <a:cxn ang="0">
                <a:pos x="0" y="3"/>
              </a:cxn>
              <a:cxn ang="0">
                <a:pos x="11" y="1"/>
              </a:cxn>
              <a:cxn ang="0">
                <a:pos x="20" y="0"/>
              </a:cxn>
              <a:cxn ang="0">
                <a:pos x="26" y="0"/>
              </a:cxn>
              <a:cxn ang="0">
                <a:pos x="33" y="1"/>
              </a:cxn>
              <a:cxn ang="0">
                <a:pos x="44" y="4"/>
              </a:cxn>
              <a:cxn ang="0">
                <a:pos x="60" y="9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/>
            <a:ahLst/>
            <a:cxnLst>
              <a:cxn ang="0">
                <a:pos x="39" y="19"/>
              </a:cxn>
              <a:cxn ang="0">
                <a:pos x="13" y="19"/>
              </a:cxn>
              <a:cxn ang="0">
                <a:pos x="8" y="19"/>
              </a:cxn>
              <a:cxn ang="0">
                <a:pos x="5" y="17"/>
              </a:cxn>
              <a:cxn ang="0">
                <a:pos x="3" y="14"/>
              </a:cxn>
              <a:cxn ang="0">
                <a:pos x="2" y="11"/>
              </a:cxn>
              <a:cxn ang="0">
                <a:pos x="0" y="5"/>
              </a:cxn>
              <a:cxn ang="0">
                <a:pos x="0" y="0"/>
              </a:cxn>
              <a:cxn ang="0">
                <a:pos x="13" y="4"/>
              </a:cxn>
              <a:cxn ang="0">
                <a:pos x="22" y="9"/>
              </a:cxn>
              <a:cxn ang="0">
                <a:pos x="30" y="14"/>
              </a:cxn>
              <a:cxn ang="0">
                <a:pos x="39" y="19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3" y="31"/>
              </a:cxn>
              <a:cxn ang="0">
                <a:pos x="10" y="20"/>
              </a:cxn>
              <a:cxn ang="0">
                <a:pos x="18" y="8"/>
              </a:cxn>
              <a:cxn ang="0">
                <a:pos x="26" y="0"/>
              </a:cxn>
              <a:cxn ang="0">
                <a:pos x="26" y="9"/>
              </a:cxn>
              <a:cxn ang="0">
                <a:pos x="26" y="18"/>
              </a:cxn>
              <a:cxn ang="0">
                <a:pos x="25" y="22"/>
              </a:cxn>
              <a:cxn ang="0">
                <a:pos x="24" y="26"/>
              </a:cxn>
              <a:cxn ang="0">
                <a:pos x="21" y="29"/>
              </a:cxn>
              <a:cxn ang="0">
                <a:pos x="17" y="32"/>
              </a:cxn>
              <a:cxn ang="0">
                <a:pos x="14" y="34"/>
              </a:cxn>
              <a:cxn ang="0">
                <a:pos x="10" y="35"/>
              </a:cxn>
              <a:cxn ang="0">
                <a:pos x="4" y="36"/>
              </a:cxn>
              <a:cxn ang="0">
                <a:pos x="0" y="36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0" y="0"/>
              </a:cxn>
              <a:cxn ang="0">
                <a:pos x="6" y="0"/>
              </a:cxn>
              <a:cxn ang="0">
                <a:pos x="6" y="31"/>
              </a:cxn>
              <a:cxn ang="0">
                <a:pos x="0" y="37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5"/>
              </a:cxn>
              <a:cxn ang="0">
                <a:pos x="0" y="18"/>
              </a:cxn>
              <a:cxn ang="0">
                <a:pos x="2" y="9"/>
              </a:cxn>
              <a:cxn ang="0">
                <a:pos x="7" y="0"/>
              </a:cxn>
              <a:cxn ang="0">
                <a:pos x="11" y="7"/>
              </a:cxn>
              <a:cxn ang="0">
                <a:pos x="16" y="12"/>
              </a:cxn>
              <a:cxn ang="0">
                <a:pos x="17" y="14"/>
              </a:cxn>
              <a:cxn ang="0">
                <a:pos x="19" y="18"/>
              </a:cxn>
              <a:cxn ang="0">
                <a:pos x="19" y="21"/>
              </a:cxn>
              <a:cxn ang="0">
                <a:pos x="20" y="25"/>
              </a:cxn>
              <a:cxn ang="0">
                <a:pos x="19" y="27"/>
              </a:cxn>
              <a:cxn ang="0">
                <a:pos x="18" y="30"/>
              </a:cxn>
              <a:cxn ang="0">
                <a:pos x="16" y="33"/>
              </a:cxn>
              <a:cxn ang="0">
                <a:pos x="12" y="36"/>
              </a:cxn>
              <a:cxn ang="0">
                <a:pos x="9" y="39"/>
              </a:cxn>
              <a:cxn ang="0">
                <a:pos x="6" y="41"/>
              </a:cxn>
              <a:cxn ang="0">
                <a:pos x="2" y="42"/>
              </a:cxn>
              <a:cxn ang="0">
                <a:pos x="0" y="43"/>
              </a:cxn>
              <a:cxn ang="0">
                <a:pos x="0" y="31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0" y="25"/>
              </a:cxn>
              <a:cxn ang="0">
                <a:pos x="0" y="18"/>
              </a:cxn>
              <a:cxn ang="0">
                <a:pos x="0" y="9"/>
              </a:cxn>
              <a:cxn ang="0">
                <a:pos x="0" y="0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0" y="24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3"/>
              </a:cxn>
              <a:cxn ang="0">
                <a:pos x="14" y="5"/>
              </a:cxn>
              <a:cxn ang="0">
                <a:pos x="19" y="8"/>
              </a:cxn>
              <a:cxn ang="0">
                <a:pos x="23" y="10"/>
              </a:cxn>
              <a:cxn ang="0">
                <a:pos x="26" y="12"/>
              </a:cxn>
              <a:cxn ang="0">
                <a:pos x="32" y="14"/>
              </a:cxn>
              <a:cxn ang="0">
                <a:pos x="37" y="17"/>
              </a:cxn>
              <a:cxn ang="0">
                <a:pos x="46" y="19"/>
              </a:cxn>
              <a:cxn ang="0">
                <a:pos x="33" y="19"/>
              </a:cxn>
              <a:cxn ang="0">
                <a:pos x="24" y="19"/>
              </a:cxn>
              <a:cxn ang="0">
                <a:pos x="18" y="18"/>
              </a:cxn>
              <a:cxn ang="0">
                <a:pos x="13" y="17"/>
              </a:cxn>
              <a:cxn ang="0">
                <a:pos x="10" y="14"/>
              </a:cxn>
              <a:cxn ang="0">
                <a:pos x="7" y="11"/>
              </a:cxn>
              <a:cxn ang="0">
                <a:pos x="4" y="7"/>
              </a:cxn>
              <a:cxn ang="0">
                <a:pos x="0" y="0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100" y="12"/>
              </a:cxn>
              <a:cxn ang="0">
                <a:pos x="100" y="55"/>
              </a:cxn>
              <a:cxn ang="0">
                <a:pos x="13" y="55"/>
              </a:cxn>
              <a:cxn ang="0">
                <a:pos x="0" y="43"/>
              </a:cxn>
              <a:cxn ang="0">
                <a:pos x="1" y="38"/>
              </a:cxn>
              <a:cxn ang="0">
                <a:pos x="4" y="32"/>
              </a:cxn>
              <a:cxn ang="0">
                <a:pos x="10" y="25"/>
              </a:cxn>
              <a:cxn ang="0">
                <a:pos x="16" y="18"/>
              </a:cxn>
              <a:cxn ang="0">
                <a:pos x="27" y="5"/>
              </a:cxn>
              <a:cxn ang="0">
                <a:pos x="33" y="0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/>
            <a:ahLst/>
            <a:cxnLst>
              <a:cxn ang="0">
                <a:pos x="53" y="2"/>
              </a:cxn>
              <a:cxn ang="0">
                <a:pos x="58" y="1"/>
              </a:cxn>
              <a:cxn ang="0">
                <a:pos x="62" y="0"/>
              </a:cxn>
              <a:cxn ang="0">
                <a:pos x="65" y="0"/>
              </a:cxn>
              <a:cxn ang="0">
                <a:pos x="69" y="1"/>
              </a:cxn>
              <a:cxn ang="0">
                <a:pos x="74" y="5"/>
              </a:cxn>
              <a:cxn ang="0">
                <a:pos x="79" y="11"/>
              </a:cxn>
              <a:cxn ang="0">
                <a:pos x="83" y="18"/>
              </a:cxn>
              <a:cxn ang="0">
                <a:pos x="87" y="25"/>
              </a:cxn>
              <a:cxn ang="0">
                <a:pos x="91" y="28"/>
              </a:cxn>
              <a:cxn ang="0">
                <a:pos x="93" y="30"/>
              </a:cxn>
              <a:cxn ang="0">
                <a:pos x="96" y="32"/>
              </a:cxn>
              <a:cxn ang="0">
                <a:pos x="99" y="34"/>
              </a:cxn>
              <a:cxn ang="0">
                <a:pos x="99" y="37"/>
              </a:cxn>
              <a:cxn ang="0">
                <a:pos x="97" y="40"/>
              </a:cxn>
              <a:cxn ang="0">
                <a:pos x="95" y="43"/>
              </a:cxn>
              <a:cxn ang="0">
                <a:pos x="91" y="45"/>
              </a:cxn>
              <a:cxn ang="0">
                <a:pos x="86" y="47"/>
              </a:cxn>
              <a:cxn ang="0">
                <a:pos x="81" y="48"/>
              </a:cxn>
              <a:cxn ang="0">
                <a:pos x="74" y="50"/>
              </a:cxn>
              <a:cxn ang="0">
                <a:pos x="68" y="50"/>
              </a:cxn>
              <a:cxn ang="0">
                <a:pos x="52" y="51"/>
              </a:cxn>
              <a:cxn ang="0">
                <a:pos x="36" y="49"/>
              </a:cxn>
              <a:cxn ang="0">
                <a:pos x="27" y="48"/>
              </a:cxn>
              <a:cxn ang="0">
                <a:pos x="18" y="45"/>
              </a:cxn>
              <a:cxn ang="0">
                <a:pos x="9" y="43"/>
              </a:cxn>
              <a:cxn ang="0">
                <a:pos x="1" y="40"/>
              </a:cxn>
              <a:cxn ang="0">
                <a:pos x="0" y="39"/>
              </a:cxn>
              <a:cxn ang="0">
                <a:pos x="1" y="37"/>
              </a:cxn>
              <a:cxn ang="0">
                <a:pos x="3" y="35"/>
              </a:cxn>
              <a:cxn ang="0">
                <a:pos x="6" y="33"/>
              </a:cxn>
              <a:cxn ang="0">
                <a:pos x="14" y="29"/>
              </a:cxn>
              <a:cxn ang="0">
                <a:pos x="25" y="24"/>
              </a:cxn>
              <a:cxn ang="0">
                <a:pos x="35" y="19"/>
              </a:cxn>
              <a:cxn ang="0">
                <a:pos x="45" y="12"/>
              </a:cxn>
              <a:cxn ang="0">
                <a:pos x="48" y="10"/>
              </a:cxn>
              <a:cxn ang="0">
                <a:pos x="51" y="7"/>
              </a:cxn>
              <a:cxn ang="0">
                <a:pos x="52" y="5"/>
              </a:cxn>
              <a:cxn ang="0">
                <a:pos x="53" y="2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/>
            <a:ahLst/>
            <a:cxnLst>
              <a:cxn ang="0">
                <a:pos x="315" y="27"/>
              </a:cxn>
              <a:cxn ang="0">
                <a:pos x="342" y="21"/>
              </a:cxn>
              <a:cxn ang="0">
                <a:pos x="385" y="20"/>
              </a:cxn>
              <a:cxn ang="0">
                <a:pos x="408" y="17"/>
              </a:cxn>
              <a:cxn ang="0">
                <a:pos x="427" y="7"/>
              </a:cxn>
              <a:cxn ang="0">
                <a:pos x="514" y="6"/>
              </a:cxn>
              <a:cxn ang="0">
                <a:pos x="525" y="19"/>
              </a:cxn>
              <a:cxn ang="0">
                <a:pos x="468" y="47"/>
              </a:cxn>
              <a:cxn ang="0">
                <a:pos x="392" y="73"/>
              </a:cxn>
              <a:cxn ang="0">
                <a:pos x="356" y="80"/>
              </a:cxn>
              <a:cxn ang="0">
                <a:pos x="321" y="83"/>
              </a:cxn>
              <a:cxn ang="0">
                <a:pos x="279" y="101"/>
              </a:cxn>
              <a:cxn ang="0">
                <a:pos x="244" y="121"/>
              </a:cxn>
              <a:cxn ang="0">
                <a:pos x="218" y="129"/>
              </a:cxn>
              <a:cxn ang="0">
                <a:pos x="187" y="123"/>
              </a:cxn>
              <a:cxn ang="0">
                <a:pos x="178" y="137"/>
              </a:cxn>
              <a:cxn ang="0">
                <a:pos x="175" y="145"/>
              </a:cxn>
              <a:cxn ang="0">
                <a:pos x="185" y="148"/>
              </a:cxn>
              <a:cxn ang="0">
                <a:pos x="184" y="157"/>
              </a:cxn>
              <a:cxn ang="0">
                <a:pos x="176" y="167"/>
              </a:cxn>
              <a:cxn ang="0">
                <a:pos x="180" y="179"/>
              </a:cxn>
              <a:cxn ang="0">
                <a:pos x="162" y="194"/>
              </a:cxn>
              <a:cxn ang="0">
                <a:pos x="144" y="204"/>
              </a:cxn>
              <a:cxn ang="0">
                <a:pos x="141" y="213"/>
              </a:cxn>
              <a:cxn ang="0">
                <a:pos x="144" y="228"/>
              </a:cxn>
              <a:cxn ang="0">
                <a:pos x="163" y="247"/>
              </a:cxn>
              <a:cxn ang="0">
                <a:pos x="191" y="267"/>
              </a:cxn>
              <a:cxn ang="0">
                <a:pos x="256" y="300"/>
              </a:cxn>
              <a:cxn ang="0">
                <a:pos x="243" y="311"/>
              </a:cxn>
              <a:cxn ang="0">
                <a:pos x="189" y="309"/>
              </a:cxn>
              <a:cxn ang="0">
                <a:pos x="145" y="308"/>
              </a:cxn>
              <a:cxn ang="0">
                <a:pos x="129" y="304"/>
              </a:cxn>
              <a:cxn ang="0">
                <a:pos x="123" y="298"/>
              </a:cxn>
              <a:cxn ang="0">
                <a:pos x="120" y="282"/>
              </a:cxn>
              <a:cxn ang="0">
                <a:pos x="116" y="278"/>
              </a:cxn>
              <a:cxn ang="0">
                <a:pos x="95" y="277"/>
              </a:cxn>
              <a:cxn ang="0">
                <a:pos x="80" y="296"/>
              </a:cxn>
              <a:cxn ang="0">
                <a:pos x="44" y="282"/>
              </a:cxn>
              <a:cxn ang="0">
                <a:pos x="0" y="246"/>
              </a:cxn>
              <a:cxn ang="0">
                <a:pos x="18" y="239"/>
              </a:cxn>
              <a:cxn ang="0">
                <a:pos x="34" y="222"/>
              </a:cxn>
              <a:cxn ang="0">
                <a:pos x="28" y="213"/>
              </a:cxn>
              <a:cxn ang="0">
                <a:pos x="34" y="200"/>
              </a:cxn>
              <a:cxn ang="0">
                <a:pos x="40" y="188"/>
              </a:cxn>
              <a:cxn ang="0">
                <a:pos x="34" y="179"/>
              </a:cxn>
              <a:cxn ang="0">
                <a:pos x="134" y="179"/>
              </a:cxn>
              <a:cxn ang="0">
                <a:pos x="131" y="177"/>
              </a:cxn>
              <a:cxn ang="0">
                <a:pos x="90" y="166"/>
              </a:cxn>
              <a:cxn ang="0">
                <a:pos x="54" y="148"/>
              </a:cxn>
              <a:cxn ang="0">
                <a:pos x="84" y="134"/>
              </a:cxn>
              <a:cxn ang="0">
                <a:pos x="120" y="111"/>
              </a:cxn>
              <a:cxn ang="0">
                <a:pos x="111" y="103"/>
              </a:cxn>
              <a:cxn ang="0">
                <a:pos x="100" y="80"/>
              </a:cxn>
              <a:cxn ang="0">
                <a:pos x="127" y="76"/>
              </a:cxn>
              <a:cxn ang="0">
                <a:pos x="184" y="58"/>
              </a:cxn>
              <a:cxn ang="0">
                <a:pos x="254" y="35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4" y="1"/>
              </a:cxn>
              <a:cxn ang="0">
                <a:pos x="62" y="3"/>
              </a:cxn>
              <a:cxn ang="0">
                <a:pos x="68" y="7"/>
              </a:cxn>
              <a:cxn ang="0">
                <a:pos x="72" y="12"/>
              </a:cxn>
              <a:cxn ang="0">
                <a:pos x="75" y="17"/>
              </a:cxn>
              <a:cxn ang="0">
                <a:pos x="77" y="22"/>
              </a:cxn>
              <a:cxn ang="0">
                <a:pos x="79" y="27"/>
              </a:cxn>
              <a:cxn ang="0">
                <a:pos x="79" y="32"/>
              </a:cxn>
              <a:cxn ang="0">
                <a:pos x="77" y="34"/>
              </a:cxn>
              <a:cxn ang="0">
                <a:pos x="75" y="35"/>
              </a:cxn>
              <a:cxn ang="0">
                <a:pos x="72" y="36"/>
              </a:cxn>
              <a:cxn ang="0">
                <a:pos x="68" y="37"/>
              </a:cxn>
              <a:cxn ang="0">
                <a:pos x="57" y="38"/>
              </a:cxn>
              <a:cxn ang="0">
                <a:pos x="46" y="38"/>
              </a:cxn>
              <a:cxn ang="0">
                <a:pos x="38" y="37"/>
              </a:cxn>
              <a:cxn ang="0">
                <a:pos x="30" y="36"/>
              </a:cxn>
              <a:cxn ang="0">
                <a:pos x="21" y="35"/>
              </a:cxn>
              <a:cxn ang="0">
                <a:pos x="15" y="32"/>
              </a:cxn>
              <a:cxn ang="0">
                <a:pos x="8" y="29"/>
              </a:cxn>
              <a:cxn ang="0">
                <a:pos x="4" y="25"/>
              </a:cxn>
              <a:cxn ang="0">
                <a:pos x="2" y="22"/>
              </a:cxn>
              <a:cxn ang="0">
                <a:pos x="1" y="20"/>
              </a:cxn>
              <a:cxn ang="0">
                <a:pos x="0" y="17"/>
              </a:cxn>
              <a:cxn ang="0">
                <a:pos x="0" y="13"/>
              </a:cxn>
              <a:cxn ang="0">
                <a:pos x="1" y="11"/>
              </a:cxn>
              <a:cxn ang="0">
                <a:pos x="4" y="9"/>
              </a:cxn>
              <a:cxn ang="0">
                <a:pos x="10" y="6"/>
              </a:cxn>
              <a:cxn ang="0">
                <a:pos x="17" y="4"/>
              </a:cxn>
              <a:cxn ang="0">
                <a:pos x="32" y="1"/>
              </a:cxn>
              <a:cxn ang="0">
                <a:pos x="46" y="0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/>
            <a:ahLst/>
            <a:cxnLst>
              <a:cxn ang="0">
                <a:pos x="26" y="45"/>
              </a:cxn>
              <a:cxn ang="0">
                <a:pos x="12" y="25"/>
              </a:cxn>
              <a:cxn ang="0">
                <a:pos x="0" y="0"/>
              </a:cxn>
              <a:cxn ang="0">
                <a:pos x="22" y="7"/>
              </a:cxn>
              <a:cxn ang="0">
                <a:pos x="33" y="6"/>
              </a:cxn>
              <a:cxn ang="0">
                <a:pos x="95" y="67"/>
              </a:cxn>
              <a:cxn ang="0">
                <a:pos x="146" y="123"/>
              </a:cxn>
              <a:cxn ang="0">
                <a:pos x="216" y="198"/>
              </a:cxn>
              <a:cxn ang="0">
                <a:pos x="258" y="237"/>
              </a:cxn>
              <a:cxn ang="0">
                <a:pos x="303" y="266"/>
              </a:cxn>
              <a:cxn ang="0">
                <a:pos x="372" y="311"/>
              </a:cxn>
              <a:cxn ang="0">
                <a:pos x="398" y="336"/>
              </a:cxn>
              <a:cxn ang="0">
                <a:pos x="365" y="320"/>
              </a:cxn>
              <a:cxn ang="0">
                <a:pos x="324" y="296"/>
              </a:cxn>
              <a:cxn ang="0">
                <a:pos x="314" y="298"/>
              </a:cxn>
              <a:cxn ang="0">
                <a:pos x="313" y="311"/>
              </a:cxn>
              <a:cxn ang="0">
                <a:pos x="317" y="337"/>
              </a:cxn>
              <a:cxn ang="0">
                <a:pos x="326" y="358"/>
              </a:cxn>
              <a:cxn ang="0">
                <a:pos x="348" y="387"/>
              </a:cxn>
              <a:cxn ang="0">
                <a:pos x="394" y="421"/>
              </a:cxn>
              <a:cxn ang="0">
                <a:pos x="440" y="458"/>
              </a:cxn>
              <a:cxn ang="0">
                <a:pos x="448" y="476"/>
              </a:cxn>
              <a:cxn ang="0">
                <a:pos x="428" y="469"/>
              </a:cxn>
              <a:cxn ang="0">
                <a:pos x="392" y="462"/>
              </a:cxn>
              <a:cxn ang="0">
                <a:pos x="393" y="494"/>
              </a:cxn>
              <a:cxn ang="0">
                <a:pos x="398" y="511"/>
              </a:cxn>
              <a:cxn ang="0">
                <a:pos x="388" y="492"/>
              </a:cxn>
              <a:cxn ang="0">
                <a:pos x="363" y="466"/>
              </a:cxn>
              <a:cxn ang="0">
                <a:pos x="343" y="445"/>
              </a:cxn>
              <a:cxn ang="0">
                <a:pos x="339" y="431"/>
              </a:cxn>
              <a:cxn ang="0">
                <a:pos x="328" y="411"/>
              </a:cxn>
              <a:cxn ang="0">
                <a:pos x="310" y="384"/>
              </a:cxn>
              <a:cxn ang="0">
                <a:pos x="298" y="367"/>
              </a:cxn>
              <a:cxn ang="0">
                <a:pos x="280" y="358"/>
              </a:cxn>
              <a:cxn ang="0">
                <a:pos x="264" y="343"/>
              </a:cxn>
              <a:cxn ang="0">
                <a:pos x="249" y="314"/>
              </a:cxn>
              <a:cxn ang="0">
                <a:pos x="245" y="293"/>
              </a:cxn>
              <a:cxn ang="0">
                <a:pos x="234" y="281"/>
              </a:cxn>
              <a:cxn ang="0">
                <a:pos x="194" y="244"/>
              </a:cxn>
              <a:cxn ang="0">
                <a:pos x="171" y="220"/>
              </a:cxn>
              <a:cxn ang="0">
                <a:pos x="163" y="203"/>
              </a:cxn>
              <a:cxn ang="0">
                <a:pos x="154" y="187"/>
              </a:cxn>
              <a:cxn ang="0">
                <a:pos x="115" y="155"/>
              </a:cxn>
              <a:cxn ang="0">
                <a:pos x="70" y="130"/>
              </a:cxn>
              <a:cxn ang="0">
                <a:pos x="47" y="110"/>
              </a:cxn>
              <a:cxn ang="0">
                <a:pos x="38" y="93"/>
              </a:cxn>
              <a:cxn ang="0">
                <a:pos x="34" y="75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6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/>
              <a:ahLst/>
              <a:cxnLst>
                <a:cxn ang="0">
                  <a:pos x="13" y="247"/>
                </a:cxn>
                <a:cxn ang="0">
                  <a:pos x="79" y="259"/>
                </a:cxn>
                <a:cxn ang="0">
                  <a:pos x="120" y="240"/>
                </a:cxn>
                <a:cxn ang="0">
                  <a:pos x="133" y="210"/>
                </a:cxn>
                <a:cxn ang="0">
                  <a:pos x="192" y="161"/>
                </a:cxn>
                <a:cxn ang="0">
                  <a:pos x="212" y="111"/>
                </a:cxn>
                <a:cxn ang="0">
                  <a:pos x="240" y="26"/>
                </a:cxn>
                <a:cxn ang="0">
                  <a:pos x="212" y="0"/>
                </a:cxn>
                <a:cxn ang="0">
                  <a:pos x="206" y="32"/>
                </a:cxn>
                <a:cxn ang="0">
                  <a:pos x="199" y="74"/>
                </a:cxn>
                <a:cxn ang="0">
                  <a:pos x="166" y="105"/>
                </a:cxn>
                <a:cxn ang="0">
                  <a:pos x="133" y="149"/>
                </a:cxn>
                <a:cxn ang="0">
                  <a:pos x="113" y="179"/>
                </a:cxn>
                <a:cxn ang="0">
                  <a:pos x="93" y="216"/>
                </a:cxn>
                <a:cxn ang="0">
                  <a:pos x="20" y="222"/>
                </a:cxn>
                <a:cxn ang="0">
                  <a:pos x="0" y="222"/>
                </a:cxn>
                <a:cxn ang="0">
                  <a:pos x="13" y="247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6" y="86"/>
                </a:cxn>
                <a:cxn ang="0">
                  <a:pos x="52" y="62"/>
                </a:cxn>
                <a:cxn ang="0">
                  <a:pos x="72" y="49"/>
                </a:cxn>
                <a:cxn ang="0">
                  <a:pos x="126" y="43"/>
                </a:cxn>
                <a:cxn ang="0">
                  <a:pos x="172" y="43"/>
                </a:cxn>
                <a:cxn ang="0">
                  <a:pos x="246" y="31"/>
                </a:cxn>
                <a:cxn ang="0">
                  <a:pos x="259" y="7"/>
                </a:cxn>
                <a:cxn ang="0">
                  <a:pos x="246" y="0"/>
                </a:cxn>
                <a:cxn ang="0">
                  <a:pos x="205" y="13"/>
                </a:cxn>
                <a:cxn ang="0">
                  <a:pos x="152" y="7"/>
                </a:cxn>
                <a:cxn ang="0">
                  <a:pos x="106" y="13"/>
                </a:cxn>
                <a:cxn ang="0">
                  <a:pos x="52" y="19"/>
                </a:cxn>
                <a:cxn ang="0">
                  <a:pos x="26" y="43"/>
                </a:cxn>
                <a:cxn ang="0">
                  <a:pos x="0" y="68"/>
                </a:cxn>
                <a:cxn ang="0">
                  <a:pos x="0" y="104"/>
                </a:cxn>
                <a:cxn ang="0">
                  <a:pos x="33" y="104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/>
            <a:ahLst/>
            <a:cxnLst>
              <a:cxn ang="0">
                <a:pos x="932" y="466"/>
              </a:cxn>
              <a:cxn ang="0">
                <a:pos x="932" y="442"/>
              </a:cxn>
              <a:cxn ang="0">
                <a:pos x="930" y="412"/>
              </a:cxn>
              <a:cxn ang="0">
                <a:pos x="908" y="385"/>
              </a:cxn>
              <a:cxn ang="0">
                <a:pos x="899" y="367"/>
              </a:cxn>
              <a:cxn ang="0">
                <a:pos x="817" y="312"/>
              </a:cxn>
              <a:cxn ang="0">
                <a:pos x="759" y="263"/>
              </a:cxn>
              <a:cxn ang="0">
                <a:pos x="752" y="229"/>
              </a:cxn>
              <a:cxn ang="0">
                <a:pos x="726" y="218"/>
              </a:cxn>
              <a:cxn ang="0">
                <a:pos x="695" y="207"/>
              </a:cxn>
              <a:cxn ang="0">
                <a:pos x="638" y="196"/>
              </a:cxn>
              <a:cxn ang="0">
                <a:pos x="596" y="201"/>
              </a:cxn>
              <a:cxn ang="0">
                <a:pos x="570" y="204"/>
              </a:cxn>
              <a:cxn ang="0">
                <a:pos x="530" y="195"/>
              </a:cxn>
              <a:cxn ang="0">
                <a:pos x="505" y="179"/>
              </a:cxn>
              <a:cxn ang="0">
                <a:pos x="483" y="128"/>
              </a:cxn>
              <a:cxn ang="0">
                <a:pos x="465" y="103"/>
              </a:cxn>
              <a:cxn ang="0">
                <a:pos x="432" y="81"/>
              </a:cxn>
              <a:cxn ang="0">
                <a:pos x="365" y="61"/>
              </a:cxn>
              <a:cxn ang="0">
                <a:pos x="303" y="32"/>
              </a:cxn>
              <a:cxn ang="0">
                <a:pos x="214" y="10"/>
              </a:cxn>
              <a:cxn ang="0">
                <a:pos x="166" y="38"/>
              </a:cxn>
              <a:cxn ang="0">
                <a:pos x="151" y="61"/>
              </a:cxn>
              <a:cxn ang="0">
                <a:pos x="153" y="90"/>
              </a:cxn>
              <a:cxn ang="0">
                <a:pos x="169" y="118"/>
              </a:cxn>
              <a:cxn ang="0">
                <a:pos x="151" y="150"/>
              </a:cxn>
              <a:cxn ang="0">
                <a:pos x="95" y="186"/>
              </a:cxn>
              <a:cxn ang="0">
                <a:pos x="54" y="190"/>
              </a:cxn>
              <a:cxn ang="0">
                <a:pos x="9" y="183"/>
              </a:cxn>
              <a:cxn ang="0">
                <a:pos x="0" y="236"/>
              </a:cxn>
              <a:cxn ang="0">
                <a:pos x="9" y="269"/>
              </a:cxn>
              <a:cxn ang="0">
                <a:pos x="25" y="282"/>
              </a:cxn>
              <a:cxn ang="0">
                <a:pos x="40" y="307"/>
              </a:cxn>
              <a:cxn ang="0">
                <a:pos x="83" y="364"/>
              </a:cxn>
              <a:cxn ang="0">
                <a:pos x="102" y="414"/>
              </a:cxn>
              <a:cxn ang="0">
                <a:pos x="121" y="427"/>
              </a:cxn>
              <a:cxn ang="0">
                <a:pos x="133" y="438"/>
              </a:cxn>
              <a:cxn ang="0">
                <a:pos x="148" y="469"/>
              </a:cxn>
              <a:cxn ang="0">
                <a:pos x="224" y="546"/>
              </a:cxn>
              <a:cxn ang="0">
                <a:pos x="249" y="585"/>
              </a:cxn>
              <a:cxn ang="0">
                <a:pos x="256" y="624"/>
              </a:cxn>
              <a:cxn ang="0">
                <a:pos x="266" y="659"/>
              </a:cxn>
              <a:cxn ang="0">
                <a:pos x="299" y="701"/>
              </a:cxn>
              <a:cxn ang="0">
                <a:pos x="361" y="761"/>
              </a:cxn>
              <a:cxn ang="0">
                <a:pos x="388" y="814"/>
              </a:cxn>
              <a:cxn ang="0">
                <a:pos x="425" y="867"/>
              </a:cxn>
              <a:cxn ang="0">
                <a:pos x="483" y="938"/>
              </a:cxn>
              <a:cxn ang="0">
                <a:pos x="528" y="979"/>
              </a:cxn>
              <a:cxn ang="0">
                <a:pos x="543" y="953"/>
              </a:cxn>
              <a:cxn ang="0">
                <a:pos x="546" y="909"/>
              </a:cxn>
              <a:cxn ang="0">
                <a:pos x="570" y="896"/>
              </a:cxn>
              <a:cxn ang="0">
                <a:pos x="605" y="895"/>
              </a:cxn>
              <a:cxn ang="0">
                <a:pos x="660" y="909"/>
              </a:cxn>
              <a:cxn ang="0">
                <a:pos x="708" y="943"/>
              </a:cxn>
              <a:cxn ang="0">
                <a:pos x="787" y="838"/>
              </a:cxn>
              <a:cxn ang="0">
                <a:pos x="1199" y="567"/>
              </a:cxn>
              <a:cxn ang="0">
                <a:pos x="940" y="468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/>
            <a:ahLst/>
            <a:cxnLst>
              <a:cxn ang="0">
                <a:pos x="146" y="18"/>
              </a:cxn>
              <a:cxn ang="0">
                <a:pos x="138" y="24"/>
              </a:cxn>
              <a:cxn ang="0">
                <a:pos x="130" y="29"/>
              </a:cxn>
              <a:cxn ang="0">
                <a:pos x="123" y="35"/>
              </a:cxn>
              <a:cxn ang="0">
                <a:pos x="118" y="41"/>
              </a:cxn>
              <a:cxn ang="0">
                <a:pos x="108" y="53"/>
              </a:cxn>
              <a:cxn ang="0">
                <a:pos x="98" y="64"/>
              </a:cxn>
              <a:cxn ang="0">
                <a:pos x="93" y="69"/>
              </a:cxn>
              <a:cxn ang="0">
                <a:pos x="85" y="73"/>
              </a:cxn>
              <a:cxn ang="0">
                <a:pos x="76" y="77"/>
              </a:cxn>
              <a:cxn ang="0">
                <a:pos x="66" y="80"/>
              </a:cxn>
              <a:cxn ang="0">
                <a:pos x="53" y="81"/>
              </a:cxn>
              <a:cxn ang="0">
                <a:pos x="39" y="80"/>
              </a:cxn>
              <a:cxn ang="0">
                <a:pos x="21" y="77"/>
              </a:cxn>
              <a:cxn ang="0">
                <a:pos x="0" y="74"/>
              </a:cxn>
              <a:cxn ang="0">
                <a:pos x="0" y="62"/>
              </a:cxn>
              <a:cxn ang="0">
                <a:pos x="0" y="49"/>
              </a:cxn>
              <a:cxn ang="0">
                <a:pos x="0" y="34"/>
              </a:cxn>
              <a:cxn ang="0">
                <a:pos x="0" y="18"/>
              </a:cxn>
              <a:cxn ang="0">
                <a:pos x="14" y="18"/>
              </a:cxn>
              <a:cxn ang="0">
                <a:pos x="22" y="18"/>
              </a:cxn>
              <a:cxn ang="0">
                <a:pos x="31" y="18"/>
              </a:cxn>
              <a:cxn ang="0">
                <a:pos x="40" y="18"/>
              </a:cxn>
              <a:cxn ang="0">
                <a:pos x="52" y="18"/>
              </a:cxn>
              <a:cxn ang="0">
                <a:pos x="63" y="16"/>
              </a:cxn>
              <a:cxn ang="0">
                <a:pos x="73" y="14"/>
              </a:cxn>
              <a:cxn ang="0">
                <a:pos x="83" y="11"/>
              </a:cxn>
              <a:cxn ang="0">
                <a:pos x="101" y="5"/>
              </a:cxn>
              <a:cxn ang="0">
                <a:pos x="120" y="0"/>
              </a:cxn>
              <a:cxn ang="0">
                <a:pos x="129" y="4"/>
              </a:cxn>
              <a:cxn ang="0">
                <a:pos x="135" y="9"/>
              </a:cxn>
              <a:cxn ang="0">
                <a:pos x="141" y="14"/>
              </a:cxn>
              <a:cxn ang="0">
                <a:pos x="146" y="18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/>
            <a:ahLst/>
            <a:cxnLst>
              <a:cxn ang="0">
                <a:pos x="34" y="49"/>
              </a:cxn>
              <a:cxn ang="0">
                <a:pos x="34" y="34"/>
              </a:cxn>
              <a:cxn ang="0">
                <a:pos x="34" y="25"/>
              </a:cxn>
              <a:cxn ang="0">
                <a:pos x="33" y="21"/>
              </a:cxn>
              <a:cxn ang="0">
                <a:pos x="33" y="17"/>
              </a:cxn>
              <a:cxn ang="0">
                <a:pos x="31" y="15"/>
              </a:cxn>
              <a:cxn ang="0">
                <a:pos x="30" y="12"/>
              </a:cxn>
              <a:cxn ang="0">
                <a:pos x="25" y="8"/>
              </a:cxn>
              <a:cxn ang="0">
                <a:pos x="21" y="0"/>
              </a:cxn>
              <a:cxn ang="0">
                <a:pos x="8" y="0"/>
              </a:cxn>
              <a:cxn ang="0">
                <a:pos x="0" y="0"/>
              </a:cxn>
              <a:cxn ang="0">
                <a:pos x="3" y="11"/>
              </a:cxn>
              <a:cxn ang="0">
                <a:pos x="7" y="20"/>
              </a:cxn>
              <a:cxn ang="0">
                <a:pos x="10" y="27"/>
              </a:cxn>
              <a:cxn ang="0">
                <a:pos x="14" y="34"/>
              </a:cxn>
              <a:cxn ang="0">
                <a:pos x="19" y="39"/>
              </a:cxn>
              <a:cxn ang="0">
                <a:pos x="24" y="43"/>
              </a:cxn>
              <a:cxn ang="0">
                <a:pos x="29" y="46"/>
              </a:cxn>
              <a:cxn ang="0">
                <a:pos x="34" y="49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6" y="4"/>
              </a:cxn>
              <a:cxn ang="0">
                <a:pos x="51" y="10"/>
              </a:cxn>
              <a:cxn ang="0">
                <a:pos x="48" y="15"/>
              </a:cxn>
              <a:cxn ang="0">
                <a:pos x="46" y="21"/>
              </a:cxn>
              <a:cxn ang="0">
                <a:pos x="41" y="31"/>
              </a:cxn>
              <a:cxn ang="0">
                <a:pos x="37" y="42"/>
              </a:cxn>
              <a:cxn ang="0">
                <a:pos x="35" y="47"/>
              </a:cxn>
              <a:cxn ang="0">
                <a:pos x="32" y="51"/>
              </a:cxn>
              <a:cxn ang="0">
                <a:pos x="29" y="56"/>
              </a:cxn>
              <a:cxn ang="0">
                <a:pos x="25" y="60"/>
              </a:cxn>
              <a:cxn ang="0">
                <a:pos x="20" y="65"/>
              </a:cxn>
              <a:cxn ang="0">
                <a:pos x="15" y="69"/>
              </a:cxn>
              <a:cxn ang="0">
                <a:pos x="8" y="72"/>
              </a:cxn>
              <a:cxn ang="0">
                <a:pos x="0" y="74"/>
              </a:cxn>
              <a:cxn ang="0">
                <a:pos x="5" y="60"/>
              </a:cxn>
              <a:cxn ang="0">
                <a:pos x="12" y="47"/>
              </a:cxn>
              <a:cxn ang="0">
                <a:pos x="19" y="34"/>
              </a:cxn>
              <a:cxn ang="0">
                <a:pos x="27" y="23"/>
              </a:cxn>
              <a:cxn ang="0">
                <a:pos x="36" y="14"/>
              </a:cxn>
              <a:cxn ang="0">
                <a:pos x="43" y="6"/>
              </a:cxn>
              <a:cxn ang="0">
                <a:pos x="48" y="3"/>
              </a:cxn>
              <a:cxn ang="0">
                <a:pos x="52" y="1"/>
              </a:cxn>
              <a:cxn ang="0">
                <a:pos x="56" y="0"/>
              </a:cxn>
              <a:cxn ang="0">
                <a:pos x="60" y="0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/>
            <a:ahLst/>
            <a:cxnLst>
              <a:cxn ang="0">
                <a:pos x="13" y="8"/>
              </a:cxn>
              <a:cxn ang="0">
                <a:pos x="22" y="8"/>
              </a:cxn>
              <a:cxn ang="0">
                <a:pos x="28" y="6"/>
              </a:cxn>
              <a:cxn ang="0">
                <a:pos x="32" y="5"/>
              </a:cxn>
              <a:cxn ang="0">
                <a:pos x="35" y="3"/>
              </a:cxn>
              <a:cxn ang="0">
                <a:pos x="37" y="1"/>
              </a:cxn>
              <a:cxn ang="0">
                <a:pos x="39" y="0"/>
              </a:cxn>
              <a:cxn ang="0">
                <a:pos x="43" y="1"/>
              </a:cxn>
              <a:cxn ang="0">
                <a:pos x="47" y="2"/>
              </a:cxn>
              <a:cxn ang="0">
                <a:pos x="46" y="7"/>
              </a:cxn>
              <a:cxn ang="0">
                <a:pos x="46" y="11"/>
              </a:cxn>
              <a:cxn ang="0">
                <a:pos x="44" y="15"/>
              </a:cxn>
              <a:cxn ang="0">
                <a:pos x="43" y="19"/>
              </a:cxn>
              <a:cxn ang="0">
                <a:pos x="37" y="26"/>
              </a:cxn>
              <a:cxn ang="0">
                <a:pos x="30" y="32"/>
              </a:cxn>
              <a:cxn ang="0">
                <a:pos x="24" y="38"/>
              </a:cxn>
              <a:cxn ang="0">
                <a:pos x="16" y="42"/>
              </a:cxn>
              <a:cxn ang="0">
                <a:pos x="7" y="45"/>
              </a:cxn>
              <a:cxn ang="0">
                <a:pos x="0" y="45"/>
              </a:cxn>
              <a:cxn ang="0">
                <a:pos x="2" y="38"/>
              </a:cxn>
              <a:cxn ang="0">
                <a:pos x="6" y="26"/>
              </a:cxn>
              <a:cxn ang="0">
                <a:pos x="11" y="15"/>
              </a:cxn>
              <a:cxn ang="0">
                <a:pos x="13" y="8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/>
            <a:ahLst/>
            <a:cxnLst>
              <a:cxn ang="0">
                <a:pos x="6" y="36"/>
              </a:cxn>
              <a:cxn ang="0">
                <a:pos x="5" y="30"/>
              </a:cxn>
              <a:cxn ang="0">
                <a:pos x="3" y="20"/>
              </a:cxn>
              <a:cxn ang="0">
                <a:pos x="1" y="10"/>
              </a:cxn>
              <a:cxn ang="0">
                <a:pos x="0" y="0"/>
              </a:cxn>
              <a:cxn ang="0">
                <a:pos x="26" y="0"/>
              </a:cxn>
              <a:cxn ang="0">
                <a:pos x="25" y="12"/>
              </a:cxn>
              <a:cxn ang="0">
                <a:pos x="24" y="23"/>
              </a:cxn>
              <a:cxn ang="0">
                <a:pos x="23" y="27"/>
              </a:cxn>
              <a:cxn ang="0">
                <a:pos x="23" y="31"/>
              </a:cxn>
              <a:cxn ang="0">
                <a:pos x="24" y="34"/>
              </a:cxn>
              <a:cxn ang="0">
                <a:pos x="26" y="36"/>
              </a:cxn>
              <a:cxn ang="0">
                <a:pos x="6" y="36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/>
            <a:ahLst/>
            <a:cxnLst>
              <a:cxn ang="0">
                <a:pos x="26" y="162"/>
              </a:cxn>
              <a:cxn ang="0">
                <a:pos x="28" y="156"/>
              </a:cxn>
              <a:cxn ang="0">
                <a:pos x="30" y="154"/>
              </a:cxn>
              <a:cxn ang="0">
                <a:pos x="28" y="151"/>
              </a:cxn>
              <a:cxn ang="0">
                <a:pos x="18" y="143"/>
              </a:cxn>
              <a:cxn ang="0">
                <a:pos x="6" y="127"/>
              </a:cxn>
              <a:cxn ang="0">
                <a:pos x="2" y="116"/>
              </a:cxn>
              <a:cxn ang="0">
                <a:pos x="5" y="112"/>
              </a:cxn>
              <a:cxn ang="0">
                <a:pos x="6" y="104"/>
              </a:cxn>
              <a:cxn ang="0">
                <a:pos x="17" y="97"/>
              </a:cxn>
              <a:cxn ang="0">
                <a:pos x="34" y="93"/>
              </a:cxn>
              <a:cxn ang="0">
                <a:pos x="47" y="88"/>
              </a:cxn>
              <a:cxn ang="0">
                <a:pos x="57" y="82"/>
              </a:cxn>
              <a:cxn ang="0">
                <a:pos x="67" y="70"/>
              </a:cxn>
              <a:cxn ang="0">
                <a:pos x="75" y="52"/>
              </a:cxn>
              <a:cxn ang="0">
                <a:pos x="84" y="47"/>
              </a:cxn>
              <a:cxn ang="0">
                <a:pos x="95" y="52"/>
              </a:cxn>
              <a:cxn ang="0">
                <a:pos x="117" y="54"/>
              </a:cxn>
              <a:cxn ang="0">
                <a:pos x="169" y="46"/>
              </a:cxn>
              <a:cxn ang="0">
                <a:pos x="212" y="43"/>
              </a:cxn>
              <a:cxn ang="0">
                <a:pos x="234" y="41"/>
              </a:cxn>
              <a:cxn ang="0">
                <a:pos x="264" y="35"/>
              </a:cxn>
              <a:cxn ang="0">
                <a:pos x="318" y="17"/>
              </a:cxn>
              <a:cxn ang="0">
                <a:pos x="359" y="4"/>
              </a:cxn>
              <a:cxn ang="0">
                <a:pos x="372" y="3"/>
              </a:cxn>
              <a:cxn ang="0">
                <a:pos x="385" y="3"/>
              </a:cxn>
              <a:cxn ang="0">
                <a:pos x="398" y="1"/>
              </a:cxn>
              <a:cxn ang="0">
                <a:pos x="395" y="8"/>
              </a:cxn>
              <a:cxn ang="0">
                <a:pos x="360" y="41"/>
              </a:cxn>
              <a:cxn ang="0">
                <a:pos x="344" y="57"/>
              </a:cxn>
              <a:cxn ang="0">
                <a:pos x="339" y="64"/>
              </a:cxn>
              <a:cxn ang="0">
                <a:pos x="339" y="96"/>
              </a:cxn>
              <a:cxn ang="0">
                <a:pos x="337" y="149"/>
              </a:cxn>
              <a:cxn ang="0">
                <a:pos x="335" y="180"/>
              </a:cxn>
              <a:cxn ang="0">
                <a:pos x="326" y="198"/>
              </a:cxn>
              <a:cxn ang="0">
                <a:pos x="305" y="210"/>
              </a:cxn>
              <a:cxn ang="0">
                <a:pos x="265" y="227"/>
              </a:cxn>
              <a:cxn ang="0">
                <a:pos x="106" y="302"/>
              </a:cxn>
              <a:cxn ang="0">
                <a:pos x="57" y="260"/>
              </a:cxn>
              <a:cxn ang="0">
                <a:pos x="70" y="228"/>
              </a:cxn>
              <a:cxn ang="0">
                <a:pos x="81" y="209"/>
              </a:cxn>
              <a:cxn ang="0">
                <a:pos x="86" y="172"/>
              </a:cxn>
              <a:cxn ang="0">
                <a:pos x="71" y="173"/>
              </a:cxn>
              <a:cxn ang="0">
                <a:pos x="57" y="169"/>
              </a:cxn>
              <a:cxn ang="0">
                <a:pos x="41" y="165"/>
              </a:cxn>
              <a:cxn ang="0">
                <a:pos x="26" y="166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00B05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17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  <a:solidFill>
            <a:srgbClr val="00B050"/>
          </a:solidFill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2" y="1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0" y="7"/>
                </a:cxn>
                <a:cxn ang="0">
                  <a:pos x="7" y="3"/>
                </a:cxn>
                <a:cxn ang="0">
                  <a:pos x="13" y="0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5"/>
                </a:cxn>
                <a:cxn ang="0">
                  <a:pos x="15" y="3"/>
                </a:cxn>
                <a:cxn ang="0">
                  <a:pos x="25" y="1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7" y="4"/>
                </a:cxn>
                <a:cxn ang="0">
                  <a:pos x="22" y="6"/>
                </a:cxn>
                <a:cxn ang="0">
                  <a:pos x="18" y="7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0" y="6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13" y="12"/>
                </a:cxn>
                <a:cxn ang="0">
                  <a:pos x="0" y="24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27"/>
                </a:cxn>
                <a:cxn ang="0">
                  <a:pos x="0" y="45"/>
                </a:cxn>
                <a:cxn ang="0">
                  <a:pos x="0" y="62"/>
                </a:cxn>
                <a:cxn ang="0">
                  <a:pos x="0" y="69"/>
                </a:cxn>
                <a:cxn ang="0">
                  <a:pos x="16" y="66"/>
                </a:cxn>
                <a:cxn ang="0">
                  <a:pos x="49" y="58"/>
                </a:cxn>
                <a:cxn ang="0">
                  <a:pos x="85" y="50"/>
                </a:cxn>
                <a:cxn ang="0">
                  <a:pos x="107" y="44"/>
                </a:cxn>
                <a:cxn ang="0">
                  <a:pos x="101" y="38"/>
                </a:cxn>
                <a:cxn ang="0">
                  <a:pos x="94" y="34"/>
                </a:cxn>
                <a:cxn ang="0">
                  <a:pos x="86" y="30"/>
                </a:cxn>
                <a:cxn ang="0">
                  <a:pos x="78" y="27"/>
                </a:cxn>
                <a:cxn ang="0">
                  <a:pos x="72" y="23"/>
                </a:cxn>
                <a:cxn ang="0">
                  <a:pos x="65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7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38" y="4"/>
                </a:cxn>
                <a:cxn ang="0">
                  <a:pos x="18" y="9"/>
                </a:cxn>
                <a:cxn ang="0">
                  <a:pos x="0" y="13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/>
              <a:ahLst/>
              <a:cxnLst>
                <a:cxn ang="0">
                  <a:pos x="992" y="124"/>
                </a:cxn>
                <a:cxn ang="0">
                  <a:pos x="970" y="103"/>
                </a:cxn>
                <a:cxn ang="0">
                  <a:pos x="962" y="57"/>
                </a:cxn>
                <a:cxn ang="0">
                  <a:pos x="936" y="36"/>
                </a:cxn>
                <a:cxn ang="0">
                  <a:pos x="817" y="19"/>
                </a:cxn>
                <a:cxn ang="0">
                  <a:pos x="726" y="58"/>
                </a:cxn>
                <a:cxn ang="0">
                  <a:pos x="678" y="65"/>
                </a:cxn>
                <a:cxn ang="0">
                  <a:pos x="632" y="65"/>
                </a:cxn>
                <a:cxn ang="0">
                  <a:pos x="612" y="44"/>
                </a:cxn>
                <a:cxn ang="0">
                  <a:pos x="560" y="37"/>
                </a:cxn>
                <a:cxn ang="0">
                  <a:pos x="525" y="19"/>
                </a:cxn>
                <a:cxn ang="0">
                  <a:pos x="483" y="21"/>
                </a:cxn>
                <a:cxn ang="0">
                  <a:pos x="465" y="0"/>
                </a:cxn>
                <a:cxn ang="0">
                  <a:pos x="390" y="16"/>
                </a:cxn>
                <a:cxn ang="0">
                  <a:pos x="299" y="26"/>
                </a:cxn>
                <a:cxn ang="0">
                  <a:pos x="257" y="45"/>
                </a:cxn>
                <a:cxn ang="0">
                  <a:pos x="138" y="61"/>
                </a:cxn>
                <a:cxn ang="0">
                  <a:pos x="173" y="75"/>
                </a:cxn>
                <a:cxn ang="0">
                  <a:pos x="164" y="90"/>
                </a:cxn>
                <a:cxn ang="0">
                  <a:pos x="114" y="93"/>
                </a:cxn>
                <a:cxn ang="0">
                  <a:pos x="42" y="94"/>
                </a:cxn>
                <a:cxn ang="0">
                  <a:pos x="8" y="110"/>
                </a:cxn>
                <a:cxn ang="0">
                  <a:pos x="0" y="147"/>
                </a:cxn>
                <a:cxn ang="0">
                  <a:pos x="16" y="167"/>
                </a:cxn>
                <a:cxn ang="0">
                  <a:pos x="22" y="193"/>
                </a:cxn>
                <a:cxn ang="0">
                  <a:pos x="21" y="210"/>
                </a:cxn>
                <a:cxn ang="0">
                  <a:pos x="49" y="237"/>
                </a:cxn>
                <a:cxn ang="0">
                  <a:pos x="56" y="259"/>
                </a:cxn>
                <a:cxn ang="0">
                  <a:pos x="74" y="271"/>
                </a:cxn>
                <a:cxn ang="0">
                  <a:pos x="96" y="290"/>
                </a:cxn>
                <a:cxn ang="0">
                  <a:pos x="205" y="352"/>
                </a:cxn>
                <a:cxn ang="0">
                  <a:pos x="253" y="370"/>
                </a:cxn>
                <a:cxn ang="0">
                  <a:pos x="267" y="358"/>
                </a:cxn>
                <a:cxn ang="0">
                  <a:pos x="277" y="338"/>
                </a:cxn>
                <a:cxn ang="0">
                  <a:pos x="297" y="316"/>
                </a:cxn>
                <a:cxn ang="0">
                  <a:pos x="334" y="323"/>
                </a:cxn>
                <a:cxn ang="0">
                  <a:pos x="362" y="358"/>
                </a:cxn>
                <a:cxn ang="0">
                  <a:pos x="399" y="370"/>
                </a:cxn>
                <a:cxn ang="0">
                  <a:pos x="447" y="359"/>
                </a:cxn>
                <a:cxn ang="0">
                  <a:pos x="493" y="335"/>
                </a:cxn>
                <a:cxn ang="0">
                  <a:pos x="525" y="327"/>
                </a:cxn>
                <a:cxn ang="0">
                  <a:pos x="564" y="326"/>
                </a:cxn>
                <a:cxn ang="0">
                  <a:pos x="567" y="367"/>
                </a:cxn>
                <a:cxn ang="0">
                  <a:pos x="590" y="377"/>
                </a:cxn>
                <a:cxn ang="0">
                  <a:pos x="613" y="362"/>
                </a:cxn>
                <a:cxn ang="0">
                  <a:pos x="647" y="336"/>
                </a:cxn>
                <a:cxn ang="0">
                  <a:pos x="752" y="327"/>
                </a:cxn>
                <a:cxn ang="0">
                  <a:pos x="831" y="315"/>
                </a:cxn>
                <a:cxn ang="0">
                  <a:pos x="918" y="283"/>
                </a:cxn>
                <a:cxn ang="0">
                  <a:pos x="967" y="286"/>
                </a:cxn>
                <a:cxn ang="0">
                  <a:pos x="1005" y="293"/>
                </a:cxn>
                <a:cxn ang="0">
                  <a:pos x="1056" y="308"/>
                </a:cxn>
                <a:cxn ang="0">
                  <a:pos x="1056" y="268"/>
                </a:cxn>
                <a:cxn ang="0">
                  <a:pos x="1026" y="219"/>
                </a:cxn>
                <a:cxn ang="0">
                  <a:pos x="1017" y="167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/>
            <a:ahLst/>
            <a:cxnLst>
              <a:cxn ang="0">
                <a:pos x="63" y="236"/>
              </a:cxn>
              <a:cxn ang="0">
                <a:pos x="68" y="237"/>
              </a:cxn>
              <a:cxn ang="0">
                <a:pos x="75" y="235"/>
              </a:cxn>
              <a:cxn ang="0">
                <a:pos x="83" y="234"/>
              </a:cxn>
              <a:cxn ang="0">
                <a:pos x="89" y="230"/>
              </a:cxn>
              <a:cxn ang="0">
                <a:pos x="96" y="223"/>
              </a:cxn>
              <a:cxn ang="0">
                <a:pos x="99" y="214"/>
              </a:cxn>
              <a:cxn ang="0">
                <a:pos x="123" y="209"/>
              </a:cxn>
              <a:cxn ang="0">
                <a:pos x="166" y="205"/>
              </a:cxn>
              <a:cxn ang="0">
                <a:pos x="195" y="198"/>
              </a:cxn>
              <a:cxn ang="0">
                <a:pos x="209" y="191"/>
              </a:cxn>
              <a:cxn ang="0">
                <a:pos x="220" y="181"/>
              </a:cxn>
              <a:cxn ang="0">
                <a:pos x="225" y="168"/>
              </a:cxn>
              <a:cxn ang="0">
                <a:pos x="226" y="153"/>
              </a:cxn>
              <a:cxn ang="0">
                <a:pos x="223" y="140"/>
              </a:cxn>
              <a:cxn ang="0">
                <a:pos x="215" y="123"/>
              </a:cxn>
              <a:cxn ang="0">
                <a:pos x="203" y="100"/>
              </a:cxn>
              <a:cxn ang="0">
                <a:pos x="196" y="84"/>
              </a:cxn>
              <a:cxn ang="0">
                <a:pos x="193" y="74"/>
              </a:cxn>
              <a:cxn ang="0">
                <a:pos x="195" y="59"/>
              </a:cxn>
              <a:cxn ang="0">
                <a:pos x="200" y="43"/>
              </a:cxn>
              <a:cxn ang="0">
                <a:pos x="213" y="25"/>
              </a:cxn>
              <a:cxn ang="0">
                <a:pos x="213" y="14"/>
              </a:cxn>
              <a:cxn ang="0">
                <a:pos x="191" y="7"/>
              </a:cxn>
              <a:cxn ang="0">
                <a:pos x="154" y="2"/>
              </a:cxn>
              <a:cxn ang="0">
                <a:pos x="20" y="6"/>
              </a:cxn>
              <a:cxn ang="0">
                <a:pos x="18" y="31"/>
              </a:cxn>
              <a:cxn ang="0">
                <a:pos x="10" y="54"/>
              </a:cxn>
              <a:cxn ang="0">
                <a:pos x="3" y="79"/>
              </a:cxn>
              <a:cxn ang="0">
                <a:pos x="0" y="111"/>
              </a:cxn>
              <a:cxn ang="0">
                <a:pos x="3" y="130"/>
              </a:cxn>
              <a:cxn ang="0">
                <a:pos x="10" y="146"/>
              </a:cxn>
              <a:cxn ang="0">
                <a:pos x="30" y="173"/>
              </a:cxn>
              <a:cxn ang="0">
                <a:pos x="51" y="199"/>
              </a:cxn>
              <a:cxn ang="0">
                <a:pos x="57" y="216"/>
              </a:cxn>
              <a:cxn ang="0">
                <a:pos x="61" y="234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/>
            <a:ahLst/>
            <a:cxnLst>
              <a:cxn ang="0">
                <a:pos x="287" y="109"/>
              </a:cxn>
              <a:cxn ang="0">
                <a:pos x="250" y="138"/>
              </a:cxn>
              <a:cxn ang="0">
                <a:pos x="199" y="197"/>
              </a:cxn>
              <a:cxn ang="0">
                <a:pos x="198" y="213"/>
              </a:cxn>
              <a:cxn ang="0">
                <a:pos x="206" y="239"/>
              </a:cxn>
              <a:cxn ang="0">
                <a:pos x="221" y="265"/>
              </a:cxn>
              <a:cxn ang="0">
                <a:pos x="240" y="288"/>
              </a:cxn>
              <a:cxn ang="0">
                <a:pos x="259" y="301"/>
              </a:cxn>
              <a:cxn ang="0">
                <a:pos x="279" y="329"/>
              </a:cxn>
              <a:cxn ang="0">
                <a:pos x="295" y="361"/>
              </a:cxn>
              <a:cxn ang="0">
                <a:pos x="305" y="369"/>
              </a:cxn>
              <a:cxn ang="0">
                <a:pos x="438" y="499"/>
              </a:cxn>
              <a:cxn ang="0">
                <a:pos x="471" y="589"/>
              </a:cxn>
              <a:cxn ang="0">
                <a:pos x="478" y="647"/>
              </a:cxn>
              <a:cxn ang="0">
                <a:pos x="476" y="687"/>
              </a:cxn>
              <a:cxn ang="0">
                <a:pos x="478" y="708"/>
              </a:cxn>
              <a:cxn ang="0">
                <a:pos x="447" y="718"/>
              </a:cxn>
              <a:cxn ang="0">
                <a:pos x="420" y="733"/>
              </a:cxn>
              <a:cxn ang="0">
                <a:pos x="391" y="756"/>
              </a:cxn>
              <a:cxn ang="0">
                <a:pos x="365" y="789"/>
              </a:cxn>
              <a:cxn ang="0">
                <a:pos x="348" y="785"/>
              </a:cxn>
              <a:cxn ang="0">
                <a:pos x="319" y="789"/>
              </a:cxn>
              <a:cxn ang="0">
                <a:pos x="313" y="804"/>
              </a:cxn>
              <a:cxn ang="0">
                <a:pos x="289" y="838"/>
              </a:cxn>
              <a:cxn ang="0">
                <a:pos x="256" y="868"/>
              </a:cxn>
              <a:cxn ang="0">
                <a:pos x="239" y="875"/>
              </a:cxn>
              <a:cxn ang="0">
                <a:pos x="232" y="868"/>
              </a:cxn>
              <a:cxn ang="0">
                <a:pos x="225" y="844"/>
              </a:cxn>
              <a:cxn ang="0">
                <a:pos x="231" y="800"/>
              </a:cxn>
              <a:cxn ang="0">
                <a:pos x="253" y="775"/>
              </a:cxn>
              <a:cxn ang="0">
                <a:pos x="277" y="760"/>
              </a:cxn>
              <a:cxn ang="0">
                <a:pos x="295" y="753"/>
              </a:cxn>
              <a:cxn ang="0">
                <a:pos x="305" y="743"/>
              </a:cxn>
              <a:cxn ang="0">
                <a:pos x="314" y="714"/>
              </a:cxn>
              <a:cxn ang="0">
                <a:pos x="330" y="686"/>
              </a:cxn>
              <a:cxn ang="0">
                <a:pos x="365" y="643"/>
              </a:cxn>
              <a:cxn ang="0">
                <a:pos x="371" y="536"/>
              </a:cxn>
              <a:cxn ang="0">
                <a:pos x="364" y="475"/>
              </a:cxn>
              <a:cxn ang="0">
                <a:pos x="341" y="427"/>
              </a:cxn>
              <a:cxn ang="0">
                <a:pos x="297" y="377"/>
              </a:cxn>
              <a:cxn ang="0">
                <a:pos x="219" y="308"/>
              </a:cxn>
              <a:cxn ang="0">
                <a:pos x="161" y="255"/>
              </a:cxn>
              <a:cxn ang="0">
                <a:pos x="108" y="198"/>
              </a:cxn>
              <a:cxn ang="0">
                <a:pos x="72" y="146"/>
              </a:cxn>
              <a:cxn ang="0">
                <a:pos x="42" y="104"/>
              </a:cxn>
              <a:cxn ang="0">
                <a:pos x="46" y="41"/>
              </a:cxn>
              <a:cxn ang="0">
                <a:pos x="129" y="19"/>
              </a:cxn>
              <a:cxn ang="0">
                <a:pos x="148" y="5"/>
              </a:cxn>
              <a:cxn ang="0">
                <a:pos x="175" y="16"/>
              </a:cxn>
              <a:cxn ang="0">
                <a:pos x="221" y="35"/>
              </a:cxn>
              <a:cxn ang="0">
                <a:pos x="269" y="67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/>
            <a:ahLst/>
            <a:cxnLst>
              <a:cxn ang="0">
                <a:pos x="200" y="8"/>
              </a:cxn>
              <a:cxn ang="0">
                <a:pos x="202" y="22"/>
              </a:cxn>
              <a:cxn ang="0">
                <a:pos x="208" y="36"/>
              </a:cxn>
              <a:cxn ang="0">
                <a:pos x="214" y="49"/>
              </a:cxn>
              <a:cxn ang="0">
                <a:pos x="224" y="63"/>
              </a:cxn>
              <a:cxn ang="0">
                <a:pos x="235" y="75"/>
              </a:cxn>
              <a:cxn ang="0">
                <a:pos x="249" y="86"/>
              </a:cxn>
              <a:cxn ang="0">
                <a:pos x="264" y="95"/>
              </a:cxn>
              <a:cxn ang="0">
                <a:pos x="316" y="106"/>
              </a:cxn>
              <a:cxn ang="0">
                <a:pos x="365" y="119"/>
              </a:cxn>
              <a:cxn ang="0">
                <a:pos x="380" y="127"/>
              </a:cxn>
              <a:cxn ang="0">
                <a:pos x="392" y="137"/>
              </a:cxn>
              <a:cxn ang="0">
                <a:pos x="398" y="151"/>
              </a:cxn>
              <a:cxn ang="0">
                <a:pos x="398" y="174"/>
              </a:cxn>
              <a:cxn ang="0">
                <a:pos x="390" y="200"/>
              </a:cxn>
              <a:cxn ang="0">
                <a:pos x="369" y="239"/>
              </a:cxn>
              <a:cxn ang="0">
                <a:pos x="344" y="276"/>
              </a:cxn>
              <a:cxn ang="0">
                <a:pos x="328" y="303"/>
              </a:cxn>
              <a:cxn ang="0">
                <a:pos x="314" y="330"/>
              </a:cxn>
              <a:cxn ang="0">
                <a:pos x="307" y="360"/>
              </a:cxn>
              <a:cxn ang="0">
                <a:pos x="297" y="377"/>
              </a:cxn>
              <a:cxn ang="0">
                <a:pos x="268" y="387"/>
              </a:cxn>
              <a:cxn ang="0">
                <a:pos x="246" y="399"/>
              </a:cxn>
              <a:cxn ang="0">
                <a:pos x="235" y="408"/>
              </a:cxn>
              <a:cxn ang="0">
                <a:pos x="227" y="417"/>
              </a:cxn>
              <a:cxn ang="0">
                <a:pos x="224" y="427"/>
              </a:cxn>
              <a:cxn ang="0">
                <a:pos x="213" y="438"/>
              </a:cxn>
              <a:cxn ang="0">
                <a:pos x="188" y="450"/>
              </a:cxn>
              <a:cxn ang="0">
                <a:pos x="173" y="456"/>
              </a:cxn>
              <a:cxn ang="0">
                <a:pos x="166" y="467"/>
              </a:cxn>
              <a:cxn ang="0">
                <a:pos x="158" y="481"/>
              </a:cxn>
              <a:cxn ang="0">
                <a:pos x="146" y="490"/>
              </a:cxn>
              <a:cxn ang="0">
                <a:pos x="131" y="494"/>
              </a:cxn>
              <a:cxn ang="0">
                <a:pos x="102" y="498"/>
              </a:cxn>
              <a:cxn ang="0">
                <a:pos x="73" y="504"/>
              </a:cxn>
              <a:cxn ang="0">
                <a:pos x="55" y="512"/>
              </a:cxn>
              <a:cxn ang="0">
                <a:pos x="46" y="514"/>
              </a:cxn>
              <a:cxn ang="0">
                <a:pos x="43" y="506"/>
              </a:cxn>
              <a:cxn ang="0">
                <a:pos x="38" y="497"/>
              </a:cxn>
              <a:cxn ang="0">
                <a:pos x="34" y="487"/>
              </a:cxn>
              <a:cxn ang="0">
                <a:pos x="33" y="468"/>
              </a:cxn>
              <a:cxn ang="0">
                <a:pos x="29" y="445"/>
              </a:cxn>
              <a:cxn ang="0">
                <a:pos x="17" y="418"/>
              </a:cxn>
              <a:cxn ang="0">
                <a:pos x="0" y="358"/>
              </a:cxn>
              <a:cxn ang="0">
                <a:pos x="194" y="185"/>
              </a:cxn>
              <a:cxn ang="0">
                <a:pos x="200" y="0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/>
            <a:ahLst/>
            <a:cxnLst>
              <a:cxn ang="0">
                <a:pos x="231" y="270"/>
              </a:cxn>
              <a:cxn ang="0">
                <a:pos x="245" y="264"/>
              </a:cxn>
              <a:cxn ang="0">
                <a:pos x="272" y="272"/>
              </a:cxn>
              <a:cxn ang="0">
                <a:pos x="654" y="1"/>
              </a:cxn>
              <a:cxn ang="0">
                <a:pos x="679" y="6"/>
              </a:cxn>
              <a:cxn ang="0">
                <a:pos x="711" y="21"/>
              </a:cxn>
              <a:cxn ang="0">
                <a:pos x="730" y="35"/>
              </a:cxn>
              <a:cxn ang="0">
                <a:pos x="760" y="57"/>
              </a:cxn>
              <a:cxn ang="0">
                <a:pos x="791" y="59"/>
              </a:cxn>
              <a:cxn ang="0">
                <a:pos x="831" y="43"/>
              </a:cxn>
              <a:cxn ang="0">
                <a:pos x="854" y="166"/>
              </a:cxn>
              <a:cxn ang="0">
                <a:pos x="866" y="205"/>
              </a:cxn>
              <a:cxn ang="0">
                <a:pos x="850" y="301"/>
              </a:cxn>
              <a:cxn ang="0">
                <a:pos x="848" y="376"/>
              </a:cxn>
              <a:cxn ang="0">
                <a:pos x="834" y="421"/>
              </a:cxn>
              <a:cxn ang="0">
                <a:pos x="802" y="467"/>
              </a:cxn>
              <a:cxn ang="0">
                <a:pos x="777" y="499"/>
              </a:cxn>
              <a:cxn ang="0">
                <a:pos x="758" y="567"/>
              </a:cxn>
              <a:cxn ang="0">
                <a:pos x="711" y="629"/>
              </a:cxn>
              <a:cxn ang="0">
                <a:pos x="680" y="646"/>
              </a:cxn>
              <a:cxn ang="0">
                <a:pos x="644" y="638"/>
              </a:cxn>
              <a:cxn ang="0">
                <a:pos x="611" y="625"/>
              </a:cxn>
              <a:cxn ang="0">
                <a:pos x="566" y="633"/>
              </a:cxn>
              <a:cxn ang="0">
                <a:pos x="530" y="659"/>
              </a:cxn>
              <a:cxn ang="0">
                <a:pos x="511" y="680"/>
              </a:cxn>
              <a:cxn ang="0">
                <a:pos x="491" y="684"/>
              </a:cxn>
              <a:cxn ang="0">
                <a:pos x="470" y="668"/>
              </a:cxn>
              <a:cxn ang="0">
                <a:pos x="446" y="639"/>
              </a:cxn>
              <a:cxn ang="0">
                <a:pos x="421" y="635"/>
              </a:cxn>
              <a:cxn ang="0">
                <a:pos x="405" y="647"/>
              </a:cxn>
              <a:cxn ang="0">
                <a:pos x="384" y="652"/>
              </a:cxn>
              <a:cxn ang="0">
                <a:pos x="350" y="638"/>
              </a:cxn>
              <a:cxn ang="0">
                <a:pos x="306" y="608"/>
              </a:cxn>
              <a:cxn ang="0">
                <a:pos x="271" y="604"/>
              </a:cxn>
              <a:cxn ang="0">
                <a:pos x="237" y="620"/>
              </a:cxn>
              <a:cxn ang="0">
                <a:pos x="209" y="653"/>
              </a:cxn>
              <a:cxn ang="0">
                <a:pos x="190" y="692"/>
              </a:cxn>
              <a:cxn ang="0">
                <a:pos x="178" y="719"/>
              </a:cxn>
              <a:cxn ang="0">
                <a:pos x="149" y="702"/>
              </a:cxn>
              <a:cxn ang="0">
                <a:pos x="100" y="740"/>
              </a:cxn>
              <a:cxn ang="0">
                <a:pos x="66" y="699"/>
              </a:cxn>
              <a:cxn ang="0">
                <a:pos x="64" y="644"/>
              </a:cxn>
              <a:cxn ang="0">
                <a:pos x="50" y="613"/>
              </a:cxn>
              <a:cxn ang="0">
                <a:pos x="20" y="587"/>
              </a:cxn>
              <a:cxn ang="0">
                <a:pos x="5" y="558"/>
              </a:cxn>
              <a:cxn ang="0">
                <a:pos x="53" y="530"/>
              </a:cxn>
              <a:cxn ang="0">
                <a:pos x="76" y="518"/>
              </a:cxn>
              <a:cxn ang="0">
                <a:pos x="139" y="510"/>
              </a:cxn>
              <a:cxn ang="0">
                <a:pos x="182" y="500"/>
              </a:cxn>
              <a:cxn ang="0">
                <a:pos x="201" y="475"/>
              </a:cxn>
              <a:cxn ang="0">
                <a:pos x="219" y="424"/>
              </a:cxn>
              <a:cxn ang="0">
                <a:pos x="224" y="367"/>
              </a:cxn>
              <a:cxn ang="0">
                <a:pos x="219" y="320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/>
            <a:ahLst/>
            <a:cxnLst>
              <a:cxn ang="0">
                <a:pos x="648" y="53"/>
              </a:cxn>
              <a:cxn ang="0">
                <a:pos x="657" y="161"/>
              </a:cxn>
              <a:cxn ang="0">
                <a:pos x="661" y="167"/>
              </a:cxn>
              <a:cxn ang="0">
                <a:pos x="677" y="177"/>
              </a:cxn>
              <a:cxn ang="0">
                <a:pos x="694" y="189"/>
              </a:cxn>
              <a:cxn ang="0">
                <a:pos x="697" y="198"/>
              </a:cxn>
              <a:cxn ang="0">
                <a:pos x="694" y="211"/>
              </a:cxn>
              <a:cxn ang="0">
                <a:pos x="685" y="217"/>
              </a:cxn>
              <a:cxn ang="0">
                <a:pos x="655" y="218"/>
              </a:cxn>
              <a:cxn ang="0">
                <a:pos x="605" y="228"/>
              </a:cxn>
              <a:cxn ang="0">
                <a:pos x="567" y="250"/>
              </a:cxn>
              <a:cxn ang="0">
                <a:pos x="549" y="267"/>
              </a:cxn>
              <a:cxn ang="0">
                <a:pos x="539" y="288"/>
              </a:cxn>
              <a:cxn ang="0">
                <a:pos x="521" y="302"/>
              </a:cxn>
              <a:cxn ang="0">
                <a:pos x="491" y="324"/>
              </a:cxn>
              <a:cxn ang="0">
                <a:pos x="455" y="352"/>
              </a:cxn>
              <a:cxn ang="0">
                <a:pos x="420" y="370"/>
              </a:cxn>
              <a:cxn ang="0">
                <a:pos x="372" y="377"/>
              </a:cxn>
              <a:cxn ang="0">
                <a:pos x="344" y="380"/>
              </a:cxn>
              <a:cxn ang="0">
                <a:pos x="316" y="396"/>
              </a:cxn>
              <a:cxn ang="0">
                <a:pos x="290" y="417"/>
              </a:cxn>
              <a:cxn ang="0">
                <a:pos x="265" y="426"/>
              </a:cxn>
              <a:cxn ang="0">
                <a:pos x="5" y="496"/>
              </a:cxn>
              <a:cxn ang="0">
                <a:pos x="32" y="487"/>
              </a:cxn>
              <a:cxn ang="0">
                <a:pos x="85" y="473"/>
              </a:cxn>
              <a:cxn ang="0">
                <a:pos x="93" y="459"/>
              </a:cxn>
              <a:cxn ang="0">
                <a:pos x="99" y="438"/>
              </a:cxn>
              <a:cxn ang="0">
                <a:pos x="119" y="422"/>
              </a:cxn>
              <a:cxn ang="0">
                <a:pos x="160" y="399"/>
              </a:cxn>
              <a:cxn ang="0">
                <a:pos x="181" y="382"/>
              </a:cxn>
              <a:cxn ang="0">
                <a:pos x="192" y="357"/>
              </a:cxn>
              <a:cxn ang="0">
                <a:pos x="193" y="316"/>
              </a:cxn>
              <a:cxn ang="0">
                <a:pos x="195" y="254"/>
              </a:cxn>
              <a:cxn ang="0">
                <a:pos x="192" y="192"/>
              </a:cxn>
              <a:cxn ang="0">
                <a:pos x="214" y="189"/>
              </a:cxn>
              <a:cxn ang="0">
                <a:pos x="228" y="179"/>
              </a:cxn>
              <a:cxn ang="0">
                <a:pos x="241" y="165"/>
              </a:cxn>
              <a:cxn ang="0">
                <a:pos x="252" y="152"/>
              </a:cxn>
              <a:cxn ang="0">
                <a:pos x="281" y="146"/>
              </a:cxn>
              <a:cxn ang="0">
                <a:pos x="314" y="143"/>
              </a:cxn>
              <a:cxn ang="0">
                <a:pos x="340" y="131"/>
              </a:cxn>
              <a:cxn ang="0">
                <a:pos x="360" y="108"/>
              </a:cxn>
              <a:cxn ang="0">
                <a:pos x="388" y="48"/>
              </a:cxn>
              <a:cxn ang="0">
                <a:pos x="407" y="12"/>
              </a:cxn>
              <a:cxn ang="0">
                <a:pos x="426" y="8"/>
              </a:cxn>
              <a:cxn ang="0">
                <a:pos x="449" y="20"/>
              </a:cxn>
              <a:cxn ang="0">
                <a:pos x="512" y="18"/>
              </a:cxn>
              <a:cxn ang="0">
                <a:pos x="590" y="13"/>
              </a:cxn>
              <a:cxn ang="0">
                <a:pos x="597" y="17"/>
              </a:cxn>
              <a:cxn ang="0">
                <a:pos x="605" y="36"/>
              </a:cxn>
              <a:cxn ang="0">
                <a:pos x="611" y="51"/>
              </a:cxn>
              <a:cxn ang="0">
                <a:pos x="618" y="50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49" name="Title 54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untries using Article Exchan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8373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ticle Exchange Web service – upload  and download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 l="22242" t="9742" r="23281"/>
          <a:stretch>
            <a:fillRect/>
          </a:stretch>
        </p:blipFill>
        <p:spPr bwMode="auto">
          <a:xfrm>
            <a:off x="304800" y="1189630"/>
            <a:ext cx="4612944" cy="42990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 cstate="print"/>
          <a:srcRect l="22242" t="48090" r="23281" b="41022"/>
          <a:stretch>
            <a:fillRect/>
          </a:stretch>
        </p:blipFill>
        <p:spPr bwMode="auto">
          <a:xfrm>
            <a:off x="859809" y="2292824"/>
            <a:ext cx="7826991" cy="17332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7" name="Rounded Rectangle 6"/>
          <p:cNvSpPr/>
          <p:nvPr/>
        </p:nvSpPr>
        <p:spPr bwMode="auto">
          <a:xfrm>
            <a:off x="5724128" y="980728"/>
            <a:ext cx="2895600" cy="53340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ct val="0"/>
              </a:spcAft>
            </a:pPr>
            <a:r>
              <a:rPr lang="en-US" dirty="0" smtClean="0">
                <a:solidFill>
                  <a:srgbClr val="FF7600">
                    <a:lumMod val="75000"/>
                  </a:srgbClr>
                </a:solidFill>
                <a:latin typeface="Trebuchet MS" pitchFamily="34" charset="0"/>
              </a:rPr>
              <a:t>Web Servic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20072" y="4149080"/>
            <a:ext cx="370790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 err="1" smtClean="0">
                <a:solidFill>
                  <a:prstClr val="black"/>
                </a:solidFill>
              </a:rPr>
              <a:t>Minitex</a:t>
            </a:r>
            <a:r>
              <a:rPr lang="en-GB" sz="2800" b="1" dirty="0" smtClean="0">
                <a:solidFill>
                  <a:prstClr val="black"/>
                </a:solidFill>
              </a:rPr>
              <a:t> –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Calibri" pitchFamily="34" charset="0"/>
              </a:rPr>
              <a:t>March – 1,764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Calibri" pitchFamily="34" charset="0"/>
              </a:rPr>
              <a:t>February – 1,843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Calibri" pitchFamily="34" charset="0"/>
              </a:rPr>
              <a:t>January – 1,355</a:t>
            </a:r>
            <a:r>
              <a:rPr lang="en-GB" sz="2400" b="1" dirty="0" smtClean="0">
                <a:solidFill>
                  <a:prstClr val="black"/>
                </a:solidFill>
              </a:rPr>
              <a:t> </a:t>
            </a:r>
          </a:p>
          <a:p>
            <a:endParaRPr lang="en-GB" sz="2400" b="1" dirty="0" smtClean="0">
              <a:solidFill>
                <a:prstClr val="black"/>
              </a:solidFill>
            </a:endParaRPr>
          </a:p>
          <a:p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67476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book scan cente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484784"/>
            <a:ext cx="2733675" cy="942976"/>
          </a:xfrm>
          <a:prstGeom prst="rect">
            <a:avLst/>
          </a:prstGeom>
          <a:noFill/>
        </p:spPr>
      </p:pic>
      <p:pic>
        <p:nvPicPr>
          <p:cNvPr id="12290" name="Picture 2" descr="iVina – Imaging &amp; Document scanning.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3140968"/>
            <a:ext cx="2743200" cy="762000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canners and Article Exchange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3419873" y="2996952"/>
            <a:ext cx="51845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err="1" smtClean="0">
                <a:solidFill>
                  <a:prstClr val="black"/>
                </a:solidFill>
              </a:rPr>
              <a:t>BookScan</a:t>
            </a:r>
            <a:r>
              <a:rPr lang="en-GB" sz="2800" dirty="0" smtClean="0">
                <a:solidFill>
                  <a:prstClr val="black"/>
                </a:solidFill>
              </a:rPr>
              <a:t> Station Licensees from April 1 2013</a:t>
            </a:r>
            <a:endParaRPr lang="en-GB" sz="2800" dirty="0">
              <a:solidFill>
                <a:prstClr val="black"/>
              </a:solidFill>
            </a:endParaRPr>
          </a:p>
        </p:txBody>
      </p:sp>
      <p:pic>
        <p:nvPicPr>
          <p:cNvPr id="12292" name="Picture 4" descr="Logo Image Acce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4" y="4797152"/>
            <a:ext cx="1977169" cy="1080120"/>
          </a:xfrm>
          <a:prstGeom prst="rect">
            <a:avLst/>
          </a:prstGeom>
          <a:noFill/>
        </p:spPr>
      </p:pic>
      <p:sp>
        <p:nvSpPr>
          <p:cNvPr id="14" name="Rectangle 13"/>
          <p:cNvSpPr/>
          <p:nvPr/>
        </p:nvSpPr>
        <p:spPr>
          <a:xfrm>
            <a:off x="3707904" y="4653136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2800" dirty="0" smtClean="0">
                <a:solidFill>
                  <a:prstClr val="black"/>
                </a:solidFill>
              </a:rPr>
              <a:t>BSCAN ILL line of </a:t>
            </a:r>
            <a:r>
              <a:rPr lang="en-US" sz="2800" smtClean="0">
                <a:solidFill>
                  <a:prstClr val="black"/>
                </a:solidFill>
              </a:rPr>
              <a:t>products is </a:t>
            </a:r>
            <a:r>
              <a:rPr lang="en-US" sz="2800" dirty="0" smtClean="0">
                <a:solidFill>
                  <a:prstClr val="black"/>
                </a:solidFill>
              </a:rPr>
              <a:t>scheduled for release in summer 2013</a:t>
            </a:r>
            <a:endParaRPr lang="en-GB" sz="2800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635896" y="1412776"/>
            <a:ext cx="518457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 smtClean="0">
                <a:solidFill>
                  <a:prstClr val="black"/>
                </a:solidFill>
              </a:rPr>
              <a:t>Available now</a:t>
            </a:r>
          </a:p>
          <a:p>
            <a:pPr algn="ctr"/>
            <a:r>
              <a:rPr lang="en-GB" sz="2800" dirty="0" smtClean="0">
                <a:solidFill>
                  <a:prstClr val="black"/>
                </a:solidFill>
                <a:hlinkClick r:id="rId5"/>
              </a:rPr>
              <a:t>http://www.youtube.com/user/ScannxBookScanCenter</a:t>
            </a:r>
            <a:endParaRPr lang="en-GB" sz="2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5878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oking at the Future of WorldCat on </a:t>
            </a:r>
            <a:r>
              <a:rPr lang="en-US" dirty="0" err="1" smtClean="0"/>
              <a:t>FirstSearch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3541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 algn="ctr">
              <a:buNone/>
            </a:pPr>
            <a:r>
              <a:rPr lang="en-US" sz="2595" dirty="0" smtClean="0"/>
              <a:t>WorldCat.org</a:t>
            </a:r>
          </a:p>
          <a:p>
            <a:endParaRPr lang="en-US" dirty="0" smtClean="0"/>
          </a:p>
          <a:p>
            <a:endParaRPr lang="en-US" dirty="0" smtClean="0"/>
          </a:p>
          <a:p>
            <a:pPr>
              <a:buNone/>
            </a:pPr>
            <a:endParaRPr lang="en-US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olidating interfaces</a:t>
            </a:r>
            <a:endParaRPr lang="en-US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/>
          <a:srcRect l="1556" r="17117" b="6386"/>
          <a:stretch>
            <a:fillRect/>
          </a:stretch>
        </p:blipFill>
        <p:spPr bwMode="auto">
          <a:xfrm>
            <a:off x="3007245" y="2667150"/>
            <a:ext cx="3482341" cy="2930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3"/>
          <p:cNvGrpSpPr/>
          <p:nvPr/>
        </p:nvGrpSpPr>
        <p:grpSpPr>
          <a:xfrm>
            <a:off x="5965565" y="1786956"/>
            <a:ext cx="3178435" cy="3721599"/>
            <a:chOff x="5965565" y="1786956"/>
            <a:chExt cx="3178435" cy="3721599"/>
          </a:xfrm>
        </p:grpSpPr>
        <p:pic>
          <p:nvPicPr>
            <p:cNvPr id="8" name="Picture 5"/>
            <p:cNvPicPr>
              <a:picLocks noChangeAspect="1" noChangeArrowheads="1"/>
            </p:cNvPicPr>
            <p:nvPr/>
          </p:nvPicPr>
          <p:blipFill>
            <a:blip r:embed="rId4" cstate="print"/>
            <a:srcRect r="25975"/>
            <a:stretch>
              <a:fillRect/>
            </a:stretch>
          </p:blipFill>
          <p:spPr bwMode="auto">
            <a:xfrm>
              <a:off x="6307532" y="2667150"/>
              <a:ext cx="2836468" cy="2841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Content Placeholder 2"/>
            <p:cNvSpPr txBox="1">
              <a:spLocks/>
            </p:cNvSpPr>
            <p:nvPr/>
          </p:nvSpPr>
          <p:spPr>
            <a:xfrm>
              <a:off x="5965565" y="1786956"/>
              <a:ext cx="3178435" cy="880193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/>
            <a:p>
              <a:pPr marL="690563" lvl="1" indent="-233363" algn="ctr">
                <a:lnSpc>
                  <a:spcPct val="110000"/>
                </a:lnSpc>
                <a:spcBef>
                  <a:spcPts val="900"/>
                </a:spcBef>
                <a:buFont typeface="Arial"/>
                <a:buNone/>
              </a:pPr>
              <a:r>
                <a:rPr lang="en-US" sz="2162" dirty="0">
                  <a:solidFill>
                    <a:prstClr val="black"/>
                  </a:solidFill>
                  <a:cs typeface="Arial"/>
                </a:rPr>
                <a:t>WorldCat Local</a:t>
              </a:r>
              <a:endParaRPr lang="en-US" sz="2162" dirty="0" smtClean="0">
                <a:solidFill>
                  <a:prstClr val="black"/>
                </a:solidFill>
                <a:cs typeface="Arial"/>
              </a:endParaRP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Char char="•"/>
              </a:pPr>
              <a:endParaRPr lang="en-US" sz="2400" dirty="0" smtClean="0">
                <a:solidFill>
                  <a:prstClr val="black"/>
                </a:solidFill>
                <a:cs typeface="Arial"/>
              </a:endParaRP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Char char="•"/>
              </a:pPr>
              <a:endParaRPr lang="en-US" sz="2400" dirty="0">
                <a:solidFill>
                  <a:prstClr val="black"/>
                </a:solidFill>
                <a:cs typeface="Arial"/>
              </a:endParaRP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None/>
              </a:pPr>
              <a:endParaRPr lang="en-US" sz="2400" dirty="0">
                <a:solidFill>
                  <a:prstClr val="black"/>
                </a:solidFill>
                <a:cs typeface="Arial"/>
              </a:endParaRPr>
            </a:p>
          </p:txBody>
        </p:sp>
      </p:grpSp>
      <p:grpSp>
        <p:nvGrpSpPr>
          <p:cNvPr id="4" name="Group 12"/>
          <p:cNvGrpSpPr/>
          <p:nvPr/>
        </p:nvGrpSpPr>
        <p:grpSpPr>
          <a:xfrm>
            <a:off x="73830" y="1786957"/>
            <a:ext cx="2844295" cy="3884046"/>
            <a:chOff x="73830" y="1786957"/>
            <a:chExt cx="2844295" cy="3884046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3830" y="2667150"/>
              <a:ext cx="2844295" cy="30038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2" name="Content Placeholder 2"/>
            <p:cNvSpPr txBox="1">
              <a:spLocks/>
            </p:cNvSpPr>
            <p:nvPr/>
          </p:nvSpPr>
          <p:spPr>
            <a:xfrm>
              <a:off x="73830" y="1786957"/>
              <a:ext cx="2536993" cy="390404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 fontScale="77500" lnSpcReduction="20000"/>
            </a:bodyPr>
            <a:lstStyle/>
            <a:p>
              <a:pPr marL="690563" lvl="1" indent="-233363" algn="ctr">
                <a:lnSpc>
                  <a:spcPct val="110000"/>
                </a:lnSpc>
                <a:spcBef>
                  <a:spcPts val="900"/>
                </a:spcBef>
                <a:buFont typeface="Arial"/>
                <a:buNone/>
              </a:pPr>
              <a:r>
                <a:rPr lang="en-US" sz="2595" dirty="0">
                  <a:solidFill>
                    <a:prstClr val="black"/>
                  </a:solidFill>
                  <a:cs typeface="Arial"/>
                </a:rPr>
                <a:t>FirstSearch</a:t>
              </a: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Char char="•"/>
              </a:pPr>
              <a:endParaRPr lang="en-US" sz="2400" dirty="0">
                <a:solidFill>
                  <a:prstClr val="black"/>
                </a:solidFill>
                <a:cs typeface="Arial"/>
              </a:endParaRP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Char char="•"/>
              </a:pPr>
              <a:endParaRPr lang="en-US" sz="2400" dirty="0">
                <a:solidFill>
                  <a:prstClr val="black"/>
                </a:solidFill>
                <a:cs typeface="Arial"/>
              </a:endParaRPr>
            </a:p>
            <a:p>
              <a:pPr marL="233363" indent="-233363">
                <a:lnSpc>
                  <a:spcPct val="110000"/>
                </a:lnSpc>
                <a:spcBef>
                  <a:spcPts val="900"/>
                </a:spcBef>
                <a:buFont typeface="Arial"/>
                <a:buNone/>
              </a:pPr>
              <a:endParaRPr lang="en-US" sz="2400" dirty="0">
                <a:solidFill>
                  <a:prstClr val="black"/>
                </a:solidFill>
                <a:cs typeface="Arial"/>
              </a:endParaRPr>
            </a:p>
          </p:txBody>
        </p:sp>
      </p:grpSp>
      <p:grpSp>
        <p:nvGrpSpPr>
          <p:cNvPr id="5" name="Group 16"/>
          <p:cNvGrpSpPr/>
          <p:nvPr/>
        </p:nvGrpSpPr>
        <p:grpSpPr>
          <a:xfrm>
            <a:off x="1235098" y="1594970"/>
            <a:ext cx="6660683" cy="4118858"/>
            <a:chOff x="1235098" y="1594970"/>
            <a:chExt cx="6660683" cy="41188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35098" y="2631122"/>
              <a:ext cx="6660683" cy="3082706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1235098" y="1594970"/>
              <a:ext cx="666068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solidFill>
                    <a:prstClr val="black"/>
                  </a:solidFill>
                </a:rPr>
                <a:t>Single Discovery interface—multiple views, functiona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449184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69885E-6 2.22608E-6 L 0.36505 2.22608E-6 " pathEditMode="relative" ptsTypes="AA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174 0.01182 L -0.29767 0.01182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0" y="0"/>
                                    </p:animMotion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9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ss across devices</a:t>
            </a:r>
            <a:endParaRPr lang="en-US" dirty="0"/>
          </a:p>
        </p:txBody>
      </p:sp>
      <p:pic>
        <p:nvPicPr>
          <p:cNvPr id="5" name="Picture 25" descr="214661 AVM4 121158231 The Lost Dog.jpg"/>
          <p:cNvPicPr>
            <a:picLocks noChangeAspect="1"/>
          </p:cNvPicPr>
          <p:nvPr/>
        </p:nvPicPr>
        <p:blipFill>
          <a:blip r:embed="rId3" cstate="print"/>
          <a:srcRect b="11046"/>
          <a:stretch>
            <a:fillRect/>
          </a:stretch>
        </p:blipFill>
        <p:spPr bwMode="auto">
          <a:xfrm>
            <a:off x="703566" y="1936192"/>
            <a:ext cx="7425366" cy="4092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652160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36_OCLC Redesign 2011-01">
  <a:themeElements>
    <a:clrScheme name="OCLC">
      <a:dk1>
        <a:sysClr val="windowText" lastClr="000000"/>
      </a:dk1>
      <a:lt1>
        <a:srgbClr val="FFFFFF"/>
      </a:lt1>
      <a:dk2>
        <a:srgbClr val="455560"/>
      </a:dk2>
      <a:lt2>
        <a:srgbClr val="FFFFFF"/>
      </a:lt2>
      <a:accent1>
        <a:srgbClr val="2178B5"/>
      </a:accent1>
      <a:accent2>
        <a:srgbClr val="C52127"/>
      </a:accent2>
      <a:accent3>
        <a:srgbClr val="409A3C"/>
      </a:accent3>
      <a:accent4>
        <a:srgbClr val="5F4894"/>
      </a:accent4>
      <a:accent5>
        <a:srgbClr val="A9316F"/>
      </a:accent5>
      <a:accent6>
        <a:srgbClr val="FF7600"/>
      </a:accent6>
      <a:hlink>
        <a:srgbClr val="034EA2"/>
      </a:hlink>
      <a:folHlink>
        <a:srgbClr val="A931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0_OCLC Redesign 2011-01">
  <a:themeElements>
    <a:clrScheme name="OCLC">
      <a:dk1>
        <a:sysClr val="windowText" lastClr="000000"/>
      </a:dk1>
      <a:lt1>
        <a:srgbClr val="FFFFFF"/>
      </a:lt1>
      <a:dk2>
        <a:srgbClr val="455560"/>
      </a:dk2>
      <a:lt2>
        <a:srgbClr val="FFFFFF"/>
      </a:lt2>
      <a:accent1>
        <a:srgbClr val="2178B5"/>
      </a:accent1>
      <a:accent2>
        <a:srgbClr val="C52127"/>
      </a:accent2>
      <a:accent3>
        <a:srgbClr val="409A3C"/>
      </a:accent3>
      <a:accent4>
        <a:srgbClr val="5F4894"/>
      </a:accent4>
      <a:accent5>
        <a:srgbClr val="A9316F"/>
      </a:accent5>
      <a:accent6>
        <a:srgbClr val="FF7600"/>
      </a:accent6>
      <a:hlink>
        <a:srgbClr val="034EA2"/>
      </a:hlink>
      <a:folHlink>
        <a:srgbClr val="A931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609</Words>
  <Application>Microsoft Office PowerPoint</Application>
  <PresentationFormat>On-screen Show (4:3)</PresentationFormat>
  <Paragraphs>117</Paragraphs>
  <Slides>25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36_OCLC Redesign 2011-01</vt:lpstr>
      <vt:lpstr>30_OCLC Redesign 2011-01</vt:lpstr>
      <vt:lpstr>Article Exchange</vt:lpstr>
      <vt:lpstr>PowerPoint Presentation</vt:lpstr>
      <vt:lpstr>Article Exchange – documents uploaded</vt:lpstr>
      <vt:lpstr>Countries using Article Exchange</vt:lpstr>
      <vt:lpstr>Article Exchange Web service – upload  and download</vt:lpstr>
      <vt:lpstr>Scanners and Article Exchange</vt:lpstr>
      <vt:lpstr>Looking at the Future of WorldCat on FirstSearch</vt:lpstr>
      <vt:lpstr>Consolidating interfaces</vt:lpstr>
      <vt:lpstr>Access across devices</vt:lpstr>
      <vt:lpstr>Open Beta</vt:lpstr>
      <vt:lpstr>Migration</vt:lpstr>
      <vt:lpstr>CO Libraries participating in the beta</vt:lpstr>
      <vt:lpstr>WorldShare ILL</vt:lpstr>
      <vt:lpstr>WorldShare ILL</vt:lpstr>
      <vt:lpstr>WorldShare ILL </vt:lpstr>
      <vt:lpstr>PowerPoint Presentation</vt:lpstr>
      <vt:lpstr>Browser versions – Supported baseline  following 12th May install</vt:lpstr>
      <vt:lpstr>Authentication</vt:lpstr>
      <vt:lpstr>Old login </vt:lpstr>
      <vt:lpstr>New login </vt:lpstr>
      <vt:lpstr>How to migrate?</vt:lpstr>
      <vt:lpstr>Roadmap? http://oc.lc/3Bhn3x   </vt:lpstr>
      <vt:lpstr>Future roadmap: NEW features in WorldShare ILL</vt:lpstr>
      <vt:lpstr>What if I use Clio?</vt:lpstr>
      <vt:lpstr>Clio 6.7.1.</vt:lpstr>
    </vt:vector>
  </TitlesOfParts>
  <Company>CD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ldShare ILL</dc:title>
  <dc:creator>Smith, Lori</dc:creator>
  <cp:lastModifiedBy>Smith, Lori</cp:lastModifiedBy>
  <cp:revision>3</cp:revision>
  <dcterms:created xsi:type="dcterms:W3CDTF">2013-04-22T20:33:05Z</dcterms:created>
  <dcterms:modified xsi:type="dcterms:W3CDTF">2013-04-22T20:41:19Z</dcterms:modified>
</cp:coreProperties>
</file>